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6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7"/>
  </p:notesMasterIdLst>
  <p:sldIdLst>
    <p:sldId id="11932" r:id="rId2"/>
    <p:sldId id="2035" r:id="rId3"/>
    <p:sldId id="2036" r:id="rId4"/>
    <p:sldId id="258" r:id="rId5"/>
    <p:sldId id="1883" r:id="rId6"/>
    <p:sldId id="1885" r:id="rId7"/>
    <p:sldId id="2015" r:id="rId8"/>
    <p:sldId id="2014" r:id="rId9"/>
    <p:sldId id="324" r:id="rId10"/>
    <p:sldId id="1889" r:id="rId11"/>
    <p:sldId id="2028" r:id="rId12"/>
    <p:sldId id="2018" r:id="rId13"/>
    <p:sldId id="2029" r:id="rId14"/>
    <p:sldId id="1913" r:id="rId15"/>
    <p:sldId id="2020" r:id="rId16"/>
    <p:sldId id="1916" r:id="rId17"/>
    <p:sldId id="1917" r:id="rId18"/>
    <p:sldId id="2024" r:id="rId19"/>
    <p:sldId id="2030" r:id="rId20"/>
    <p:sldId id="2026" r:id="rId21"/>
    <p:sldId id="2032" r:id="rId22"/>
    <p:sldId id="2033" r:id="rId23"/>
    <p:sldId id="2034" r:id="rId24"/>
    <p:sldId id="2023" r:id="rId25"/>
    <p:sldId id="11933" r:id="rId26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09" autoAdjust="0"/>
    <p:restoredTop sz="80494" autoAdjust="0"/>
  </p:normalViewPr>
  <p:slideViewPr>
    <p:cSldViewPr snapToGrid="0">
      <p:cViewPr varScale="1">
        <p:scale>
          <a:sx n="53" d="100"/>
          <a:sy n="53" d="100"/>
        </p:scale>
        <p:origin x="120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_rels/data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diagrams/_rels/drawing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4F6440-228F-4D6B-AC08-333DABBAD42D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sv-SE"/>
        </a:p>
      </dgm:t>
    </dgm:pt>
    <dgm:pt modelId="{61B5895B-E4B9-43EE-8FB0-15971B44F34D}">
      <dgm:prSet/>
      <dgm:spPr/>
      <dgm:t>
        <a:bodyPr/>
        <a:lstStyle/>
        <a:p>
          <a:r>
            <a:rPr lang="sv-SE"/>
            <a:t>Plan </a:t>
          </a:r>
        </a:p>
      </dgm:t>
    </dgm:pt>
    <dgm:pt modelId="{ACDFA3FC-3F83-42F9-9602-012C3C15F081}" type="parTrans" cxnId="{8C4B8DA7-7DEB-4469-ADE5-A1273ACB975C}">
      <dgm:prSet/>
      <dgm:spPr/>
      <dgm:t>
        <a:bodyPr/>
        <a:lstStyle/>
        <a:p>
          <a:endParaRPr lang="sv-SE"/>
        </a:p>
      </dgm:t>
    </dgm:pt>
    <dgm:pt modelId="{72A7524F-0798-4416-8730-7899717EA062}" type="sibTrans" cxnId="{8C4B8DA7-7DEB-4469-ADE5-A1273ACB975C}">
      <dgm:prSet/>
      <dgm:spPr/>
      <dgm:t>
        <a:bodyPr/>
        <a:lstStyle/>
        <a:p>
          <a:endParaRPr lang="sv-SE"/>
        </a:p>
      </dgm:t>
    </dgm:pt>
    <dgm:pt modelId="{0B966A63-60D7-4D6E-B9BE-BF76A33689E9}">
      <dgm:prSet/>
      <dgm:spPr/>
      <dgm:t>
        <a:bodyPr/>
        <a:lstStyle/>
        <a:p>
          <a:r>
            <a:rPr lang="sv-SE" dirty="0"/>
            <a:t>Do </a:t>
          </a:r>
        </a:p>
      </dgm:t>
    </dgm:pt>
    <dgm:pt modelId="{BB51DFD4-AD11-4A4F-9470-AC8A15CB7991}" type="parTrans" cxnId="{50A6D283-66B2-46B7-B294-D5C6A94DA68D}">
      <dgm:prSet/>
      <dgm:spPr/>
      <dgm:t>
        <a:bodyPr/>
        <a:lstStyle/>
        <a:p>
          <a:endParaRPr lang="sv-SE"/>
        </a:p>
      </dgm:t>
    </dgm:pt>
    <dgm:pt modelId="{9D78C0F7-09EF-4196-8065-270CF20465AE}" type="sibTrans" cxnId="{50A6D283-66B2-46B7-B294-D5C6A94DA68D}">
      <dgm:prSet/>
      <dgm:spPr/>
      <dgm:t>
        <a:bodyPr/>
        <a:lstStyle/>
        <a:p>
          <a:endParaRPr lang="sv-SE"/>
        </a:p>
      </dgm:t>
    </dgm:pt>
    <dgm:pt modelId="{3A2582AA-6DD1-4861-BE5F-633D571F4E5D}">
      <dgm:prSet/>
      <dgm:spPr/>
      <dgm:t>
        <a:bodyPr/>
        <a:lstStyle/>
        <a:p>
          <a:r>
            <a:rPr lang="sv-SE"/>
            <a:t>Study </a:t>
          </a:r>
        </a:p>
      </dgm:t>
    </dgm:pt>
    <dgm:pt modelId="{733E3DFB-5642-4A72-99A8-4BBFF6C5C2E5}" type="parTrans" cxnId="{C16460A0-C3DB-48DC-96C6-C884065C0551}">
      <dgm:prSet/>
      <dgm:spPr/>
      <dgm:t>
        <a:bodyPr/>
        <a:lstStyle/>
        <a:p>
          <a:endParaRPr lang="sv-SE"/>
        </a:p>
      </dgm:t>
    </dgm:pt>
    <dgm:pt modelId="{9FFDF326-551D-4014-A9A9-6111AA92BF5D}" type="sibTrans" cxnId="{C16460A0-C3DB-48DC-96C6-C884065C0551}">
      <dgm:prSet/>
      <dgm:spPr/>
      <dgm:t>
        <a:bodyPr/>
        <a:lstStyle/>
        <a:p>
          <a:endParaRPr lang="sv-SE"/>
        </a:p>
      </dgm:t>
    </dgm:pt>
    <dgm:pt modelId="{F8CD27E2-5D92-4A4D-944D-1B5C79BF7B56}">
      <dgm:prSet/>
      <dgm:spPr/>
      <dgm:t>
        <a:bodyPr/>
        <a:lstStyle/>
        <a:p>
          <a:r>
            <a:rPr lang="sv-SE"/>
            <a:t>Act</a:t>
          </a:r>
        </a:p>
      </dgm:t>
    </dgm:pt>
    <dgm:pt modelId="{2B8B68D6-0B35-4FDA-BA1C-DDAB6013C231}" type="parTrans" cxnId="{A5FC6D07-9CE0-40CA-A484-CA2778D7774F}">
      <dgm:prSet/>
      <dgm:spPr/>
      <dgm:t>
        <a:bodyPr/>
        <a:lstStyle/>
        <a:p>
          <a:endParaRPr lang="sv-SE"/>
        </a:p>
      </dgm:t>
    </dgm:pt>
    <dgm:pt modelId="{E8D54EA9-5A9E-49DF-8E56-67D0A540BA26}" type="sibTrans" cxnId="{A5FC6D07-9CE0-40CA-A484-CA2778D7774F}">
      <dgm:prSet/>
      <dgm:spPr/>
      <dgm:t>
        <a:bodyPr/>
        <a:lstStyle/>
        <a:p>
          <a:endParaRPr lang="sv-SE"/>
        </a:p>
      </dgm:t>
    </dgm:pt>
    <dgm:pt modelId="{40029B1D-2A5D-423D-AE1A-5892C475923B}" type="pres">
      <dgm:prSet presAssocID="{E64F6440-228F-4D6B-AC08-333DABBAD42D}" presName="cycle" presStyleCnt="0">
        <dgm:presLayoutVars>
          <dgm:dir/>
          <dgm:resizeHandles val="exact"/>
        </dgm:presLayoutVars>
      </dgm:prSet>
      <dgm:spPr/>
    </dgm:pt>
    <dgm:pt modelId="{E6E91D85-A7E5-4E15-B3FC-A8D605540757}" type="pres">
      <dgm:prSet presAssocID="{61B5895B-E4B9-43EE-8FB0-15971B44F34D}" presName="node" presStyleLbl="node1" presStyleIdx="0" presStyleCnt="4">
        <dgm:presLayoutVars>
          <dgm:bulletEnabled val="1"/>
        </dgm:presLayoutVars>
      </dgm:prSet>
      <dgm:spPr/>
    </dgm:pt>
    <dgm:pt modelId="{85B0733E-E5A0-4830-85DC-EABBC9C2FBD2}" type="pres">
      <dgm:prSet presAssocID="{72A7524F-0798-4416-8730-7899717EA062}" presName="sibTrans" presStyleLbl="sibTrans2D1" presStyleIdx="0" presStyleCnt="4"/>
      <dgm:spPr/>
    </dgm:pt>
    <dgm:pt modelId="{11D103AC-7202-442D-849A-BD67371D538C}" type="pres">
      <dgm:prSet presAssocID="{72A7524F-0798-4416-8730-7899717EA062}" presName="connectorText" presStyleLbl="sibTrans2D1" presStyleIdx="0" presStyleCnt="4"/>
      <dgm:spPr/>
    </dgm:pt>
    <dgm:pt modelId="{D0C417A6-F9FE-4E8C-BC0D-60759148F756}" type="pres">
      <dgm:prSet presAssocID="{0B966A63-60D7-4D6E-B9BE-BF76A33689E9}" presName="node" presStyleLbl="node1" presStyleIdx="1" presStyleCnt="4">
        <dgm:presLayoutVars>
          <dgm:bulletEnabled val="1"/>
        </dgm:presLayoutVars>
      </dgm:prSet>
      <dgm:spPr/>
    </dgm:pt>
    <dgm:pt modelId="{581C9726-5A27-4B07-8624-113A383372EC}" type="pres">
      <dgm:prSet presAssocID="{9D78C0F7-09EF-4196-8065-270CF20465AE}" presName="sibTrans" presStyleLbl="sibTrans2D1" presStyleIdx="1" presStyleCnt="4"/>
      <dgm:spPr/>
    </dgm:pt>
    <dgm:pt modelId="{3637BC27-C707-4293-8E66-9D3CCA6B6B7F}" type="pres">
      <dgm:prSet presAssocID="{9D78C0F7-09EF-4196-8065-270CF20465AE}" presName="connectorText" presStyleLbl="sibTrans2D1" presStyleIdx="1" presStyleCnt="4"/>
      <dgm:spPr/>
    </dgm:pt>
    <dgm:pt modelId="{ED7C4EC7-7045-4B42-A84F-75C8029A3E63}" type="pres">
      <dgm:prSet presAssocID="{3A2582AA-6DD1-4861-BE5F-633D571F4E5D}" presName="node" presStyleLbl="node1" presStyleIdx="2" presStyleCnt="4">
        <dgm:presLayoutVars>
          <dgm:bulletEnabled val="1"/>
        </dgm:presLayoutVars>
      </dgm:prSet>
      <dgm:spPr/>
    </dgm:pt>
    <dgm:pt modelId="{037730D9-676D-4162-92A7-B1B2066E9B35}" type="pres">
      <dgm:prSet presAssocID="{9FFDF326-551D-4014-A9A9-6111AA92BF5D}" presName="sibTrans" presStyleLbl="sibTrans2D1" presStyleIdx="2" presStyleCnt="4"/>
      <dgm:spPr/>
    </dgm:pt>
    <dgm:pt modelId="{7B07F0AB-9A8C-4818-9EA9-B2EFC450151E}" type="pres">
      <dgm:prSet presAssocID="{9FFDF326-551D-4014-A9A9-6111AA92BF5D}" presName="connectorText" presStyleLbl="sibTrans2D1" presStyleIdx="2" presStyleCnt="4"/>
      <dgm:spPr/>
    </dgm:pt>
    <dgm:pt modelId="{C451CBA9-605F-473B-A3FF-ED2376DD2BD9}" type="pres">
      <dgm:prSet presAssocID="{F8CD27E2-5D92-4A4D-944D-1B5C79BF7B56}" presName="node" presStyleLbl="node1" presStyleIdx="3" presStyleCnt="4">
        <dgm:presLayoutVars>
          <dgm:bulletEnabled val="1"/>
        </dgm:presLayoutVars>
      </dgm:prSet>
      <dgm:spPr/>
    </dgm:pt>
    <dgm:pt modelId="{3B612EC5-477B-405C-959D-6D85AD954649}" type="pres">
      <dgm:prSet presAssocID="{E8D54EA9-5A9E-49DF-8E56-67D0A540BA26}" presName="sibTrans" presStyleLbl="sibTrans2D1" presStyleIdx="3" presStyleCnt="4"/>
      <dgm:spPr/>
    </dgm:pt>
    <dgm:pt modelId="{D37A0CF1-9053-414E-A272-90BB1CE9975E}" type="pres">
      <dgm:prSet presAssocID="{E8D54EA9-5A9E-49DF-8E56-67D0A540BA26}" presName="connectorText" presStyleLbl="sibTrans2D1" presStyleIdx="3" presStyleCnt="4"/>
      <dgm:spPr/>
    </dgm:pt>
  </dgm:ptLst>
  <dgm:cxnLst>
    <dgm:cxn modelId="{A5FC6D07-9CE0-40CA-A484-CA2778D7774F}" srcId="{E64F6440-228F-4D6B-AC08-333DABBAD42D}" destId="{F8CD27E2-5D92-4A4D-944D-1B5C79BF7B56}" srcOrd="3" destOrd="0" parTransId="{2B8B68D6-0B35-4FDA-BA1C-DDAB6013C231}" sibTransId="{E8D54EA9-5A9E-49DF-8E56-67D0A540BA26}"/>
    <dgm:cxn modelId="{3094AB3C-42BD-467D-9BB9-750C6762F812}" type="presOf" srcId="{E64F6440-228F-4D6B-AC08-333DABBAD42D}" destId="{40029B1D-2A5D-423D-AE1A-5892C475923B}" srcOrd="0" destOrd="0" presId="urn:microsoft.com/office/officeart/2005/8/layout/cycle2"/>
    <dgm:cxn modelId="{2601694B-8D09-4584-AAF5-02D70311EF8C}" type="presOf" srcId="{F8CD27E2-5D92-4A4D-944D-1B5C79BF7B56}" destId="{C451CBA9-605F-473B-A3FF-ED2376DD2BD9}" srcOrd="0" destOrd="0" presId="urn:microsoft.com/office/officeart/2005/8/layout/cycle2"/>
    <dgm:cxn modelId="{BDEEA653-B2FE-4230-9704-A17574DA496D}" type="presOf" srcId="{9D78C0F7-09EF-4196-8065-270CF20465AE}" destId="{3637BC27-C707-4293-8E66-9D3CCA6B6B7F}" srcOrd="1" destOrd="0" presId="urn:microsoft.com/office/officeart/2005/8/layout/cycle2"/>
    <dgm:cxn modelId="{BCFDF980-33C7-4F16-8C51-8D85BB615D4E}" type="presOf" srcId="{0B966A63-60D7-4D6E-B9BE-BF76A33689E9}" destId="{D0C417A6-F9FE-4E8C-BC0D-60759148F756}" srcOrd="0" destOrd="0" presId="urn:microsoft.com/office/officeart/2005/8/layout/cycle2"/>
    <dgm:cxn modelId="{ED814683-21C5-49BC-AA0D-A0A55C8F5D35}" type="presOf" srcId="{72A7524F-0798-4416-8730-7899717EA062}" destId="{85B0733E-E5A0-4830-85DC-EABBC9C2FBD2}" srcOrd="0" destOrd="0" presId="urn:microsoft.com/office/officeart/2005/8/layout/cycle2"/>
    <dgm:cxn modelId="{50A6D283-66B2-46B7-B294-D5C6A94DA68D}" srcId="{E64F6440-228F-4D6B-AC08-333DABBAD42D}" destId="{0B966A63-60D7-4D6E-B9BE-BF76A33689E9}" srcOrd="1" destOrd="0" parTransId="{BB51DFD4-AD11-4A4F-9470-AC8A15CB7991}" sibTransId="{9D78C0F7-09EF-4196-8065-270CF20465AE}"/>
    <dgm:cxn modelId="{4B35B18E-5790-4A0D-997B-1B5F6F3C239A}" type="presOf" srcId="{72A7524F-0798-4416-8730-7899717EA062}" destId="{11D103AC-7202-442D-849A-BD67371D538C}" srcOrd="1" destOrd="0" presId="urn:microsoft.com/office/officeart/2005/8/layout/cycle2"/>
    <dgm:cxn modelId="{15D66E8F-ABB3-49E7-A52E-66580854263A}" type="presOf" srcId="{9D78C0F7-09EF-4196-8065-270CF20465AE}" destId="{581C9726-5A27-4B07-8624-113A383372EC}" srcOrd="0" destOrd="0" presId="urn:microsoft.com/office/officeart/2005/8/layout/cycle2"/>
    <dgm:cxn modelId="{C16460A0-C3DB-48DC-96C6-C884065C0551}" srcId="{E64F6440-228F-4D6B-AC08-333DABBAD42D}" destId="{3A2582AA-6DD1-4861-BE5F-633D571F4E5D}" srcOrd="2" destOrd="0" parTransId="{733E3DFB-5642-4A72-99A8-4BBFF6C5C2E5}" sibTransId="{9FFDF326-551D-4014-A9A9-6111AA92BF5D}"/>
    <dgm:cxn modelId="{351862A5-9107-4181-864B-84205DAD3FDF}" type="presOf" srcId="{9FFDF326-551D-4014-A9A9-6111AA92BF5D}" destId="{7B07F0AB-9A8C-4818-9EA9-B2EFC450151E}" srcOrd="1" destOrd="0" presId="urn:microsoft.com/office/officeart/2005/8/layout/cycle2"/>
    <dgm:cxn modelId="{8C4B8DA7-7DEB-4469-ADE5-A1273ACB975C}" srcId="{E64F6440-228F-4D6B-AC08-333DABBAD42D}" destId="{61B5895B-E4B9-43EE-8FB0-15971B44F34D}" srcOrd="0" destOrd="0" parTransId="{ACDFA3FC-3F83-42F9-9602-012C3C15F081}" sibTransId="{72A7524F-0798-4416-8730-7899717EA062}"/>
    <dgm:cxn modelId="{E0FCF3B0-FD91-4501-895B-407C9283E038}" type="presOf" srcId="{E8D54EA9-5A9E-49DF-8E56-67D0A540BA26}" destId="{D37A0CF1-9053-414E-A272-90BB1CE9975E}" srcOrd="1" destOrd="0" presId="urn:microsoft.com/office/officeart/2005/8/layout/cycle2"/>
    <dgm:cxn modelId="{760643B5-0375-47C0-B452-9EDA967F0A3B}" type="presOf" srcId="{3A2582AA-6DD1-4861-BE5F-633D571F4E5D}" destId="{ED7C4EC7-7045-4B42-A84F-75C8029A3E63}" srcOrd="0" destOrd="0" presId="urn:microsoft.com/office/officeart/2005/8/layout/cycle2"/>
    <dgm:cxn modelId="{46FBF1C1-B3C0-4C39-B7CF-DC77E3951B2D}" type="presOf" srcId="{E8D54EA9-5A9E-49DF-8E56-67D0A540BA26}" destId="{3B612EC5-477B-405C-959D-6D85AD954649}" srcOrd="0" destOrd="0" presId="urn:microsoft.com/office/officeart/2005/8/layout/cycle2"/>
    <dgm:cxn modelId="{CC017EC9-AFE0-453C-B7A7-6B3F11389B72}" type="presOf" srcId="{61B5895B-E4B9-43EE-8FB0-15971B44F34D}" destId="{E6E91D85-A7E5-4E15-B3FC-A8D605540757}" srcOrd="0" destOrd="0" presId="urn:microsoft.com/office/officeart/2005/8/layout/cycle2"/>
    <dgm:cxn modelId="{87847DD0-7FA9-4CB6-8FCD-AEE5E28045B3}" type="presOf" srcId="{9FFDF326-551D-4014-A9A9-6111AA92BF5D}" destId="{037730D9-676D-4162-92A7-B1B2066E9B35}" srcOrd="0" destOrd="0" presId="urn:microsoft.com/office/officeart/2005/8/layout/cycle2"/>
    <dgm:cxn modelId="{2F7467B8-C8A1-4C83-A9D9-A73BEF388611}" type="presParOf" srcId="{40029B1D-2A5D-423D-AE1A-5892C475923B}" destId="{E6E91D85-A7E5-4E15-B3FC-A8D605540757}" srcOrd="0" destOrd="0" presId="urn:microsoft.com/office/officeart/2005/8/layout/cycle2"/>
    <dgm:cxn modelId="{94B1DC21-FAD1-48F7-B50A-64475E9B3BA9}" type="presParOf" srcId="{40029B1D-2A5D-423D-AE1A-5892C475923B}" destId="{85B0733E-E5A0-4830-85DC-EABBC9C2FBD2}" srcOrd="1" destOrd="0" presId="urn:microsoft.com/office/officeart/2005/8/layout/cycle2"/>
    <dgm:cxn modelId="{6FCD0EE4-8411-430E-9C80-6D74BC4E18CC}" type="presParOf" srcId="{85B0733E-E5A0-4830-85DC-EABBC9C2FBD2}" destId="{11D103AC-7202-442D-849A-BD67371D538C}" srcOrd="0" destOrd="0" presId="urn:microsoft.com/office/officeart/2005/8/layout/cycle2"/>
    <dgm:cxn modelId="{6B4E2CB9-2845-467F-8A88-0CD4DF72174A}" type="presParOf" srcId="{40029B1D-2A5D-423D-AE1A-5892C475923B}" destId="{D0C417A6-F9FE-4E8C-BC0D-60759148F756}" srcOrd="2" destOrd="0" presId="urn:microsoft.com/office/officeart/2005/8/layout/cycle2"/>
    <dgm:cxn modelId="{9B56B12B-36D4-41E1-A58B-B2CF13F10715}" type="presParOf" srcId="{40029B1D-2A5D-423D-AE1A-5892C475923B}" destId="{581C9726-5A27-4B07-8624-113A383372EC}" srcOrd="3" destOrd="0" presId="urn:microsoft.com/office/officeart/2005/8/layout/cycle2"/>
    <dgm:cxn modelId="{1182B7C3-0907-4868-8AF0-C0AFA3D82AD0}" type="presParOf" srcId="{581C9726-5A27-4B07-8624-113A383372EC}" destId="{3637BC27-C707-4293-8E66-9D3CCA6B6B7F}" srcOrd="0" destOrd="0" presId="urn:microsoft.com/office/officeart/2005/8/layout/cycle2"/>
    <dgm:cxn modelId="{318232C6-FCE6-4BED-872E-5AA4AC52DB01}" type="presParOf" srcId="{40029B1D-2A5D-423D-AE1A-5892C475923B}" destId="{ED7C4EC7-7045-4B42-A84F-75C8029A3E63}" srcOrd="4" destOrd="0" presId="urn:microsoft.com/office/officeart/2005/8/layout/cycle2"/>
    <dgm:cxn modelId="{CB174B62-69D1-498C-A0BA-9DA982E151D2}" type="presParOf" srcId="{40029B1D-2A5D-423D-AE1A-5892C475923B}" destId="{037730D9-676D-4162-92A7-B1B2066E9B35}" srcOrd="5" destOrd="0" presId="urn:microsoft.com/office/officeart/2005/8/layout/cycle2"/>
    <dgm:cxn modelId="{A5C04F6D-4A69-4260-9D25-4C23C3FF6889}" type="presParOf" srcId="{037730D9-676D-4162-92A7-B1B2066E9B35}" destId="{7B07F0AB-9A8C-4818-9EA9-B2EFC450151E}" srcOrd="0" destOrd="0" presId="urn:microsoft.com/office/officeart/2005/8/layout/cycle2"/>
    <dgm:cxn modelId="{3ABE7CB9-9F56-42DE-8624-ECF7393542CB}" type="presParOf" srcId="{40029B1D-2A5D-423D-AE1A-5892C475923B}" destId="{C451CBA9-605F-473B-A3FF-ED2376DD2BD9}" srcOrd="6" destOrd="0" presId="urn:microsoft.com/office/officeart/2005/8/layout/cycle2"/>
    <dgm:cxn modelId="{DB207FB7-0D20-4783-95E2-9643E55C2D5D}" type="presParOf" srcId="{40029B1D-2A5D-423D-AE1A-5892C475923B}" destId="{3B612EC5-477B-405C-959D-6D85AD954649}" srcOrd="7" destOrd="0" presId="urn:microsoft.com/office/officeart/2005/8/layout/cycle2"/>
    <dgm:cxn modelId="{7FA7FCE8-A9B9-4FEC-8BDD-42FA359D723F}" type="presParOf" srcId="{3B612EC5-477B-405C-959D-6D85AD954649}" destId="{D37A0CF1-9053-414E-A272-90BB1CE9975E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A4F82D6-D240-49DE-B149-6D40BB5D076E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51B2950F-03EC-4123-A32E-322A485B5E5B}">
      <dgm:prSet/>
      <dgm:spPr/>
      <dgm:t>
        <a:bodyPr/>
        <a:lstStyle/>
        <a:p>
          <a:r>
            <a:rPr lang="sv-SE" dirty="0"/>
            <a:t>Processer, rutiner och systematiskt kvalitetsarbete</a:t>
          </a:r>
        </a:p>
      </dgm:t>
    </dgm:pt>
    <dgm:pt modelId="{656DEBE7-A26C-412A-BD9E-82F865AA6324}" type="parTrans" cxnId="{035C23FF-B647-4E2B-8860-C8BAF9DFCF11}">
      <dgm:prSet/>
      <dgm:spPr/>
      <dgm:t>
        <a:bodyPr/>
        <a:lstStyle/>
        <a:p>
          <a:endParaRPr lang="sv-SE"/>
        </a:p>
      </dgm:t>
    </dgm:pt>
    <dgm:pt modelId="{303E40B2-02E6-42A9-B544-71FAFDB2D0D2}" type="sibTrans" cxnId="{035C23FF-B647-4E2B-8860-C8BAF9DFCF11}">
      <dgm:prSet/>
      <dgm:spPr/>
      <dgm:t>
        <a:bodyPr/>
        <a:lstStyle/>
        <a:p>
          <a:endParaRPr lang="sv-SE"/>
        </a:p>
      </dgm:t>
    </dgm:pt>
    <dgm:pt modelId="{F7D2500B-15B8-4B74-B69C-9D9F19926074}">
      <dgm:prSet/>
      <dgm:spPr/>
      <dgm:t>
        <a:bodyPr/>
        <a:lstStyle/>
        <a:p>
          <a:r>
            <a:rPr lang="sv-SE" dirty="0"/>
            <a:t>Systematiskt vårdhygieniskt kvalitetsarbete i ledningssystem</a:t>
          </a:r>
        </a:p>
      </dgm:t>
    </dgm:pt>
    <dgm:pt modelId="{481CC393-1522-4341-B8DE-3CD319AA055F}" type="parTrans" cxnId="{6CE9720E-3711-42CE-B65F-399312C99D8E}">
      <dgm:prSet/>
      <dgm:spPr/>
      <dgm:t>
        <a:bodyPr/>
        <a:lstStyle/>
        <a:p>
          <a:endParaRPr lang="sv-SE"/>
        </a:p>
      </dgm:t>
    </dgm:pt>
    <dgm:pt modelId="{607BEBD0-5875-4522-9420-1C3A694EE23B}" type="sibTrans" cxnId="{6CE9720E-3711-42CE-B65F-399312C99D8E}">
      <dgm:prSet/>
      <dgm:spPr/>
      <dgm:t>
        <a:bodyPr/>
        <a:lstStyle/>
        <a:p>
          <a:endParaRPr lang="sv-SE"/>
        </a:p>
      </dgm:t>
    </dgm:pt>
    <dgm:pt modelId="{FE5A5508-DC30-4BBF-8B03-BACFE0338E3E}">
      <dgm:prSet/>
      <dgm:spPr/>
      <dgm:t>
        <a:bodyPr/>
        <a:lstStyle/>
        <a:p>
          <a:r>
            <a:rPr lang="sv-SE" dirty="0"/>
            <a:t>Verksamhet uppfyller krav och mål Patientsäkerhet och god hygienisk standard upprätthålls</a:t>
          </a:r>
        </a:p>
      </dgm:t>
    </dgm:pt>
    <dgm:pt modelId="{9AA6E075-6FCA-4153-9904-E1D45435DCCC}" type="parTrans" cxnId="{7AF0B424-B9AF-4016-B2A9-105411660DB8}">
      <dgm:prSet/>
      <dgm:spPr/>
      <dgm:t>
        <a:bodyPr/>
        <a:lstStyle/>
        <a:p>
          <a:endParaRPr lang="sv-SE"/>
        </a:p>
      </dgm:t>
    </dgm:pt>
    <dgm:pt modelId="{64302785-BE95-4664-A4BF-33AF8B8F4A1A}" type="sibTrans" cxnId="{7AF0B424-B9AF-4016-B2A9-105411660DB8}">
      <dgm:prSet/>
      <dgm:spPr/>
      <dgm:t>
        <a:bodyPr/>
        <a:lstStyle/>
        <a:p>
          <a:endParaRPr lang="sv-SE"/>
        </a:p>
      </dgm:t>
    </dgm:pt>
    <dgm:pt modelId="{316694CB-BF10-4E33-BD26-E41E20A1FA34}">
      <dgm:prSet/>
      <dgm:spPr/>
      <dgm:t>
        <a:bodyPr/>
        <a:lstStyle/>
        <a:p>
          <a:r>
            <a:rPr lang="sv-SE" dirty="0"/>
            <a:t>Regelbunden mätning, utvärdering, återkoppling och uppföljning på flera nivåer</a:t>
          </a:r>
        </a:p>
      </dgm:t>
    </dgm:pt>
    <dgm:pt modelId="{C38BF561-43BB-40D0-9D3E-D2474A6B7AE5}" type="parTrans" cxnId="{299675A9-4FF1-4D19-89E4-BC7AD8DEE992}">
      <dgm:prSet/>
      <dgm:spPr/>
      <dgm:t>
        <a:bodyPr/>
        <a:lstStyle/>
        <a:p>
          <a:endParaRPr lang="sv-SE"/>
        </a:p>
      </dgm:t>
    </dgm:pt>
    <dgm:pt modelId="{CD009F94-EA7A-41E3-B4E5-AF64E16F2668}" type="sibTrans" cxnId="{299675A9-4FF1-4D19-89E4-BC7AD8DEE992}">
      <dgm:prSet/>
      <dgm:spPr/>
      <dgm:t>
        <a:bodyPr/>
        <a:lstStyle/>
        <a:p>
          <a:endParaRPr lang="sv-SE"/>
        </a:p>
      </dgm:t>
    </dgm:pt>
    <dgm:pt modelId="{8ABD8A53-0F72-4E0A-A22A-5AC2F101EB69}" type="pres">
      <dgm:prSet presAssocID="{DA4F82D6-D240-49DE-B149-6D40BB5D076E}" presName="matrix" presStyleCnt="0">
        <dgm:presLayoutVars>
          <dgm:chMax val="1"/>
          <dgm:dir/>
          <dgm:resizeHandles val="exact"/>
        </dgm:presLayoutVars>
      </dgm:prSet>
      <dgm:spPr/>
    </dgm:pt>
    <dgm:pt modelId="{557B9AA6-EF78-4764-8AD7-4C2E15617DED}" type="pres">
      <dgm:prSet presAssocID="{DA4F82D6-D240-49DE-B149-6D40BB5D076E}" presName="diamond" presStyleLbl="bgShp" presStyleIdx="0" presStyleCnt="1" custLinFactNeighborX="-190" custLinFactNeighborY="381"/>
      <dgm:spPr/>
    </dgm:pt>
    <dgm:pt modelId="{2B7D8823-1D05-4A9A-A73B-C0103D8556A6}" type="pres">
      <dgm:prSet presAssocID="{DA4F82D6-D240-49DE-B149-6D40BB5D076E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CE6E2C3-3358-4766-87FF-83B69FBE57A2}" type="pres">
      <dgm:prSet presAssocID="{DA4F82D6-D240-49DE-B149-6D40BB5D076E}" presName="quad2" presStyleLbl="node1" presStyleIdx="1" presStyleCnt="4" custLinFactNeighborX="-3846" custLinFactNeighborY="-277">
        <dgm:presLayoutVars>
          <dgm:chMax val="0"/>
          <dgm:chPref val="0"/>
          <dgm:bulletEnabled val="1"/>
        </dgm:presLayoutVars>
      </dgm:prSet>
      <dgm:spPr/>
    </dgm:pt>
    <dgm:pt modelId="{1060F0C6-3158-44B1-863A-FEE7F19B5B88}" type="pres">
      <dgm:prSet presAssocID="{DA4F82D6-D240-49DE-B149-6D40BB5D076E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D160F8A-B3C7-4D9C-B88F-02D81A104A51}" type="pres">
      <dgm:prSet presAssocID="{DA4F82D6-D240-49DE-B149-6D40BB5D076E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6CE9720E-3711-42CE-B65F-399312C99D8E}" srcId="{DA4F82D6-D240-49DE-B149-6D40BB5D076E}" destId="{F7D2500B-15B8-4B74-B69C-9D9F19926074}" srcOrd="1" destOrd="0" parTransId="{481CC393-1522-4341-B8DE-3CD319AA055F}" sibTransId="{607BEBD0-5875-4522-9420-1C3A694EE23B}"/>
    <dgm:cxn modelId="{7AF0B424-B9AF-4016-B2A9-105411660DB8}" srcId="{DA4F82D6-D240-49DE-B149-6D40BB5D076E}" destId="{FE5A5508-DC30-4BBF-8B03-BACFE0338E3E}" srcOrd="2" destOrd="0" parTransId="{9AA6E075-6FCA-4153-9904-E1D45435DCCC}" sibTransId="{64302785-BE95-4664-A4BF-33AF8B8F4A1A}"/>
    <dgm:cxn modelId="{44878E2B-DFE6-4452-B010-6A2E4F9EBEE0}" type="presOf" srcId="{316694CB-BF10-4E33-BD26-E41E20A1FA34}" destId="{BD160F8A-B3C7-4D9C-B88F-02D81A104A51}" srcOrd="0" destOrd="0" presId="urn:microsoft.com/office/officeart/2005/8/layout/matrix3"/>
    <dgm:cxn modelId="{47FD0E44-FDEA-4E96-AE07-8785E6AA5A9D}" type="presOf" srcId="{DA4F82D6-D240-49DE-B149-6D40BB5D076E}" destId="{8ABD8A53-0F72-4E0A-A22A-5AC2F101EB69}" srcOrd="0" destOrd="0" presId="urn:microsoft.com/office/officeart/2005/8/layout/matrix3"/>
    <dgm:cxn modelId="{857AC64C-E3C1-4251-B3ED-8439AEC4C5CD}" type="presOf" srcId="{FE5A5508-DC30-4BBF-8B03-BACFE0338E3E}" destId="{1060F0C6-3158-44B1-863A-FEE7F19B5B88}" srcOrd="0" destOrd="0" presId="urn:microsoft.com/office/officeart/2005/8/layout/matrix3"/>
    <dgm:cxn modelId="{8EBEA08C-AD48-4020-9222-D5E69188E73D}" type="presOf" srcId="{F7D2500B-15B8-4B74-B69C-9D9F19926074}" destId="{BCE6E2C3-3358-4766-87FF-83B69FBE57A2}" srcOrd="0" destOrd="0" presId="urn:microsoft.com/office/officeart/2005/8/layout/matrix3"/>
    <dgm:cxn modelId="{8F9B858D-175B-49B0-9EA6-C1ECB21C30B1}" type="presOf" srcId="{51B2950F-03EC-4123-A32E-322A485B5E5B}" destId="{2B7D8823-1D05-4A9A-A73B-C0103D8556A6}" srcOrd="0" destOrd="0" presId="urn:microsoft.com/office/officeart/2005/8/layout/matrix3"/>
    <dgm:cxn modelId="{299675A9-4FF1-4D19-89E4-BC7AD8DEE992}" srcId="{DA4F82D6-D240-49DE-B149-6D40BB5D076E}" destId="{316694CB-BF10-4E33-BD26-E41E20A1FA34}" srcOrd="3" destOrd="0" parTransId="{C38BF561-43BB-40D0-9D3E-D2474A6B7AE5}" sibTransId="{CD009F94-EA7A-41E3-B4E5-AF64E16F2668}"/>
    <dgm:cxn modelId="{035C23FF-B647-4E2B-8860-C8BAF9DFCF11}" srcId="{DA4F82D6-D240-49DE-B149-6D40BB5D076E}" destId="{51B2950F-03EC-4123-A32E-322A485B5E5B}" srcOrd="0" destOrd="0" parTransId="{656DEBE7-A26C-412A-BD9E-82F865AA6324}" sibTransId="{303E40B2-02E6-42A9-B544-71FAFDB2D0D2}"/>
    <dgm:cxn modelId="{648DABE8-7976-474F-A50B-365681EE81CB}" type="presParOf" srcId="{8ABD8A53-0F72-4E0A-A22A-5AC2F101EB69}" destId="{557B9AA6-EF78-4764-8AD7-4C2E15617DED}" srcOrd="0" destOrd="0" presId="urn:microsoft.com/office/officeart/2005/8/layout/matrix3"/>
    <dgm:cxn modelId="{3386577D-CE3F-400C-984B-3ADC614EF1C4}" type="presParOf" srcId="{8ABD8A53-0F72-4E0A-A22A-5AC2F101EB69}" destId="{2B7D8823-1D05-4A9A-A73B-C0103D8556A6}" srcOrd="1" destOrd="0" presId="urn:microsoft.com/office/officeart/2005/8/layout/matrix3"/>
    <dgm:cxn modelId="{11B4C608-1727-4EB6-AA22-98B68DCB40BD}" type="presParOf" srcId="{8ABD8A53-0F72-4E0A-A22A-5AC2F101EB69}" destId="{BCE6E2C3-3358-4766-87FF-83B69FBE57A2}" srcOrd="2" destOrd="0" presId="urn:microsoft.com/office/officeart/2005/8/layout/matrix3"/>
    <dgm:cxn modelId="{F588766A-2F53-4674-998F-FA4DBB66AA46}" type="presParOf" srcId="{8ABD8A53-0F72-4E0A-A22A-5AC2F101EB69}" destId="{1060F0C6-3158-44B1-863A-FEE7F19B5B88}" srcOrd="3" destOrd="0" presId="urn:microsoft.com/office/officeart/2005/8/layout/matrix3"/>
    <dgm:cxn modelId="{670E46D8-ABF3-465F-BD6A-C58E62EA6DDC}" type="presParOf" srcId="{8ABD8A53-0F72-4E0A-A22A-5AC2F101EB69}" destId="{BD160F8A-B3C7-4D9C-B88F-02D81A104A51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64F6440-228F-4D6B-AC08-333DABBAD42D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sv-SE"/>
        </a:p>
      </dgm:t>
    </dgm:pt>
    <dgm:pt modelId="{61B5895B-E4B9-43EE-8FB0-15971B44F34D}">
      <dgm:prSet/>
      <dgm:spPr/>
      <dgm:t>
        <a:bodyPr/>
        <a:lstStyle/>
        <a:p>
          <a:r>
            <a:rPr lang="sv-SE"/>
            <a:t>Plan </a:t>
          </a:r>
        </a:p>
      </dgm:t>
    </dgm:pt>
    <dgm:pt modelId="{ACDFA3FC-3F83-42F9-9602-012C3C15F081}" type="parTrans" cxnId="{8C4B8DA7-7DEB-4469-ADE5-A1273ACB975C}">
      <dgm:prSet/>
      <dgm:spPr/>
      <dgm:t>
        <a:bodyPr/>
        <a:lstStyle/>
        <a:p>
          <a:endParaRPr lang="sv-SE"/>
        </a:p>
      </dgm:t>
    </dgm:pt>
    <dgm:pt modelId="{72A7524F-0798-4416-8730-7899717EA062}" type="sibTrans" cxnId="{8C4B8DA7-7DEB-4469-ADE5-A1273ACB975C}">
      <dgm:prSet/>
      <dgm:spPr/>
      <dgm:t>
        <a:bodyPr/>
        <a:lstStyle/>
        <a:p>
          <a:endParaRPr lang="sv-SE"/>
        </a:p>
      </dgm:t>
    </dgm:pt>
    <dgm:pt modelId="{0B966A63-60D7-4D6E-B9BE-BF76A33689E9}">
      <dgm:prSet/>
      <dgm:spPr/>
      <dgm:t>
        <a:bodyPr/>
        <a:lstStyle/>
        <a:p>
          <a:r>
            <a:rPr lang="sv-SE"/>
            <a:t>Do </a:t>
          </a:r>
        </a:p>
      </dgm:t>
    </dgm:pt>
    <dgm:pt modelId="{BB51DFD4-AD11-4A4F-9470-AC8A15CB7991}" type="parTrans" cxnId="{50A6D283-66B2-46B7-B294-D5C6A94DA68D}">
      <dgm:prSet/>
      <dgm:spPr/>
      <dgm:t>
        <a:bodyPr/>
        <a:lstStyle/>
        <a:p>
          <a:endParaRPr lang="sv-SE"/>
        </a:p>
      </dgm:t>
    </dgm:pt>
    <dgm:pt modelId="{9D78C0F7-09EF-4196-8065-270CF20465AE}" type="sibTrans" cxnId="{50A6D283-66B2-46B7-B294-D5C6A94DA68D}">
      <dgm:prSet/>
      <dgm:spPr/>
      <dgm:t>
        <a:bodyPr/>
        <a:lstStyle/>
        <a:p>
          <a:endParaRPr lang="sv-SE"/>
        </a:p>
      </dgm:t>
    </dgm:pt>
    <dgm:pt modelId="{3A2582AA-6DD1-4861-BE5F-633D571F4E5D}">
      <dgm:prSet/>
      <dgm:spPr/>
      <dgm:t>
        <a:bodyPr/>
        <a:lstStyle/>
        <a:p>
          <a:r>
            <a:rPr lang="sv-SE"/>
            <a:t>Study </a:t>
          </a:r>
        </a:p>
      </dgm:t>
    </dgm:pt>
    <dgm:pt modelId="{733E3DFB-5642-4A72-99A8-4BBFF6C5C2E5}" type="parTrans" cxnId="{C16460A0-C3DB-48DC-96C6-C884065C0551}">
      <dgm:prSet/>
      <dgm:spPr/>
      <dgm:t>
        <a:bodyPr/>
        <a:lstStyle/>
        <a:p>
          <a:endParaRPr lang="sv-SE"/>
        </a:p>
      </dgm:t>
    </dgm:pt>
    <dgm:pt modelId="{9FFDF326-551D-4014-A9A9-6111AA92BF5D}" type="sibTrans" cxnId="{C16460A0-C3DB-48DC-96C6-C884065C0551}">
      <dgm:prSet/>
      <dgm:spPr/>
      <dgm:t>
        <a:bodyPr/>
        <a:lstStyle/>
        <a:p>
          <a:endParaRPr lang="sv-SE"/>
        </a:p>
      </dgm:t>
    </dgm:pt>
    <dgm:pt modelId="{F8CD27E2-5D92-4A4D-944D-1B5C79BF7B56}">
      <dgm:prSet/>
      <dgm:spPr/>
      <dgm:t>
        <a:bodyPr/>
        <a:lstStyle/>
        <a:p>
          <a:r>
            <a:rPr lang="sv-SE"/>
            <a:t>Act</a:t>
          </a:r>
        </a:p>
      </dgm:t>
    </dgm:pt>
    <dgm:pt modelId="{2B8B68D6-0B35-4FDA-BA1C-DDAB6013C231}" type="parTrans" cxnId="{A5FC6D07-9CE0-40CA-A484-CA2778D7774F}">
      <dgm:prSet/>
      <dgm:spPr/>
      <dgm:t>
        <a:bodyPr/>
        <a:lstStyle/>
        <a:p>
          <a:endParaRPr lang="sv-SE"/>
        </a:p>
      </dgm:t>
    </dgm:pt>
    <dgm:pt modelId="{E8D54EA9-5A9E-49DF-8E56-67D0A540BA26}" type="sibTrans" cxnId="{A5FC6D07-9CE0-40CA-A484-CA2778D7774F}">
      <dgm:prSet/>
      <dgm:spPr/>
      <dgm:t>
        <a:bodyPr/>
        <a:lstStyle/>
        <a:p>
          <a:endParaRPr lang="sv-SE"/>
        </a:p>
      </dgm:t>
    </dgm:pt>
    <dgm:pt modelId="{40029B1D-2A5D-423D-AE1A-5892C475923B}" type="pres">
      <dgm:prSet presAssocID="{E64F6440-228F-4D6B-AC08-333DABBAD42D}" presName="cycle" presStyleCnt="0">
        <dgm:presLayoutVars>
          <dgm:dir/>
          <dgm:resizeHandles val="exact"/>
        </dgm:presLayoutVars>
      </dgm:prSet>
      <dgm:spPr/>
    </dgm:pt>
    <dgm:pt modelId="{E6E91D85-A7E5-4E15-B3FC-A8D605540757}" type="pres">
      <dgm:prSet presAssocID="{61B5895B-E4B9-43EE-8FB0-15971B44F34D}" presName="node" presStyleLbl="node1" presStyleIdx="0" presStyleCnt="4">
        <dgm:presLayoutVars>
          <dgm:bulletEnabled val="1"/>
        </dgm:presLayoutVars>
      </dgm:prSet>
      <dgm:spPr/>
    </dgm:pt>
    <dgm:pt modelId="{85B0733E-E5A0-4830-85DC-EABBC9C2FBD2}" type="pres">
      <dgm:prSet presAssocID="{72A7524F-0798-4416-8730-7899717EA062}" presName="sibTrans" presStyleLbl="sibTrans2D1" presStyleIdx="0" presStyleCnt="4"/>
      <dgm:spPr/>
    </dgm:pt>
    <dgm:pt modelId="{11D103AC-7202-442D-849A-BD67371D538C}" type="pres">
      <dgm:prSet presAssocID="{72A7524F-0798-4416-8730-7899717EA062}" presName="connectorText" presStyleLbl="sibTrans2D1" presStyleIdx="0" presStyleCnt="4"/>
      <dgm:spPr/>
    </dgm:pt>
    <dgm:pt modelId="{D0C417A6-F9FE-4E8C-BC0D-60759148F756}" type="pres">
      <dgm:prSet presAssocID="{0B966A63-60D7-4D6E-B9BE-BF76A33689E9}" presName="node" presStyleLbl="node1" presStyleIdx="1" presStyleCnt="4">
        <dgm:presLayoutVars>
          <dgm:bulletEnabled val="1"/>
        </dgm:presLayoutVars>
      </dgm:prSet>
      <dgm:spPr/>
    </dgm:pt>
    <dgm:pt modelId="{581C9726-5A27-4B07-8624-113A383372EC}" type="pres">
      <dgm:prSet presAssocID="{9D78C0F7-09EF-4196-8065-270CF20465AE}" presName="sibTrans" presStyleLbl="sibTrans2D1" presStyleIdx="1" presStyleCnt="4"/>
      <dgm:spPr/>
    </dgm:pt>
    <dgm:pt modelId="{3637BC27-C707-4293-8E66-9D3CCA6B6B7F}" type="pres">
      <dgm:prSet presAssocID="{9D78C0F7-09EF-4196-8065-270CF20465AE}" presName="connectorText" presStyleLbl="sibTrans2D1" presStyleIdx="1" presStyleCnt="4"/>
      <dgm:spPr/>
    </dgm:pt>
    <dgm:pt modelId="{ED7C4EC7-7045-4B42-A84F-75C8029A3E63}" type="pres">
      <dgm:prSet presAssocID="{3A2582AA-6DD1-4861-BE5F-633D571F4E5D}" presName="node" presStyleLbl="node1" presStyleIdx="2" presStyleCnt="4">
        <dgm:presLayoutVars>
          <dgm:bulletEnabled val="1"/>
        </dgm:presLayoutVars>
      </dgm:prSet>
      <dgm:spPr/>
    </dgm:pt>
    <dgm:pt modelId="{037730D9-676D-4162-92A7-B1B2066E9B35}" type="pres">
      <dgm:prSet presAssocID="{9FFDF326-551D-4014-A9A9-6111AA92BF5D}" presName="sibTrans" presStyleLbl="sibTrans2D1" presStyleIdx="2" presStyleCnt="4"/>
      <dgm:spPr/>
    </dgm:pt>
    <dgm:pt modelId="{7B07F0AB-9A8C-4818-9EA9-B2EFC450151E}" type="pres">
      <dgm:prSet presAssocID="{9FFDF326-551D-4014-A9A9-6111AA92BF5D}" presName="connectorText" presStyleLbl="sibTrans2D1" presStyleIdx="2" presStyleCnt="4"/>
      <dgm:spPr/>
    </dgm:pt>
    <dgm:pt modelId="{C451CBA9-605F-473B-A3FF-ED2376DD2BD9}" type="pres">
      <dgm:prSet presAssocID="{F8CD27E2-5D92-4A4D-944D-1B5C79BF7B56}" presName="node" presStyleLbl="node1" presStyleIdx="3" presStyleCnt="4">
        <dgm:presLayoutVars>
          <dgm:bulletEnabled val="1"/>
        </dgm:presLayoutVars>
      </dgm:prSet>
      <dgm:spPr/>
    </dgm:pt>
    <dgm:pt modelId="{3B612EC5-477B-405C-959D-6D85AD954649}" type="pres">
      <dgm:prSet presAssocID="{E8D54EA9-5A9E-49DF-8E56-67D0A540BA26}" presName="sibTrans" presStyleLbl="sibTrans2D1" presStyleIdx="3" presStyleCnt="4"/>
      <dgm:spPr/>
    </dgm:pt>
    <dgm:pt modelId="{D37A0CF1-9053-414E-A272-90BB1CE9975E}" type="pres">
      <dgm:prSet presAssocID="{E8D54EA9-5A9E-49DF-8E56-67D0A540BA26}" presName="connectorText" presStyleLbl="sibTrans2D1" presStyleIdx="3" presStyleCnt="4"/>
      <dgm:spPr/>
    </dgm:pt>
  </dgm:ptLst>
  <dgm:cxnLst>
    <dgm:cxn modelId="{A5FC6D07-9CE0-40CA-A484-CA2778D7774F}" srcId="{E64F6440-228F-4D6B-AC08-333DABBAD42D}" destId="{F8CD27E2-5D92-4A4D-944D-1B5C79BF7B56}" srcOrd="3" destOrd="0" parTransId="{2B8B68D6-0B35-4FDA-BA1C-DDAB6013C231}" sibTransId="{E8D54EA9-5A9E-49DF-8E56-67D0A540BA26}"/>
    <dgm:cxn modelId="{3094AB3C-42BD-467D-9BB9-750C6762F812}" type="presOf" srcId="{E64F6440-228F-4D6B-AC08-333DABBAD42D}" destId="{40029B1D-2A5D-423D-AE1A-5892C475923B}" srcOrd="0" destOrd="0" presId="urn:microsoft.com/office/officeart/2005/8/layout/cycle2"/>
    <dgm:cxn modelId="{2601694B-8D09-4584-AAF5-02D70311EF8C}" type="presOf" srcId="{F8CD27E2-5D92-4A4D-944D-1B5C79BF7B56}" destId="{C451CBA9-605F-473B-A3FF-ED2376DD2BD9}" srcOrd="0" destOrd="0" presId="urn:microsoft.com/office/officeart/2005/8/layout/cycle2"/>
    <dgm:cxn modelId="{BDEEA653-B2FE-4230-9704-A17574DA496D}" type="presOf" srcId="{9D78C0F7-09EF-4196-8065-270CF20465AE}" destId="{3637BC27-C707-4293-8E66-9D3CCA6B6B7F}" srcOrd="1" destOrd="0" presId="urn:microsoft.com/office/officeart/2005/8/layout/cycle2"/>
    <dgm:cxn modelId="{BCFDF980-33C7-4F16-8C51-8D85BB615D4E}" type="presOf" srcId="{0B966A63-60D7-4D6E-B9BE-BF76A33689E9}" destId="{D0C417A6-F9FE-4E8C-BC0D-60759148F756}" srcOrd="0" destOrd="0" presId="urn:microsoft.com/office/officeart/2005/8/layout/cycle2"/>
    <dgm:cxn modelId="{ED814683-21C5-49BC-AA0D-A0A55C8F5D35}" type="presOf" srcId="{72A7524F-0798-4416-8730-7899717EA062}" destId="{85B0733E-E5A0-4830-85DC-EABBC9C2FBD2}" srcOrd="0" destOrd="0" presId="urn:microsoft.com/office/officeart/2005/8/layout/cycle2"/>
    <dgm:cxn modelId="{50A6D283-66B2-46B7-B294-D5C6A94DA68D}" srcId="{E64F6440-228F-4D6B-AC08-333DABBAD42D}" destId="{0B966A63-60D7-4D6E-B9BE-BF76A33689E9}" srcOrd="1" destOrd="0" parTransId="{BB51DFD4-AD11-4A4F-9470-AC8A15CB7991}" sibTransId="{9D78C0F7-09EF-4196-8065-270CF20465AE}"/>
    <dgm:cxn modelId="{4B35B18E-5790-4A0D-997B-1B5F6F3C239A}" type="presOf" srcId="{72A7524F-0798-4416-8730-7899717EA062}" destId="{11D103AC-7202-442D-849A-BD67371D538C}" srcOrd="1" destOrd="0" presId="urn:microsoft.com/office/officeart/2005/8/layout/cycle2"/>
    <dgm:cxn modelId="{15D66E8F-ABB3-49E7-A52E-66580854263A}" type="presOf" srcId="{9D78C0F7-09EF-4196-8065-270CF20465AE}" destId="{581C9726-5A27-4B07-8624-113A383372EC}" srcOrd="0" destOrd="0" presId="urn:microsoft.com/office/officeart/2005/8/layout/cycle2"/>
    <dgm:cxn modelId="{C16460A0-C3DB-48DC-96C6-C884065C0551}" srcId="{E64F6440-228F-4D6B-AC08-333DABBAD42D}" destId="{3A2582AA-6DD1-4861-BE5F-633D571F4E5D}" srcOrd="2" destOrd="0" parTransId="{733E3DFB-5642-4A72-99A8-4BBFF6C5C2E5}" sibTransId="{9FFDF326-551D-4014-A9A9-6111AA92BF5D}"/>
    <dgm:cxn modelId="{351862A5-9107-4181-864B-84205DAD3FDF}" type="presOf" srcId="{9FFDF326-551D-4014-A9A9-6111AA92BF5D}" destId="{7B07F0AB-9A8C-4818-9EA9-B2EFC450151E}" srcOrd="1" destOrd="0" presId="urn:microsoft.com/office/officeart/2005/8/layout/cycle2"/>
    <dgm:cxn modelId="{8C4B8DA7-7DEB-4469-ADE5-A1273ACB975C}" srcId="{E64F6440-228F-4D6B-AC08-333DABBAD42D}" destId="{61B5895B-E4B9-43EE-8FB0-15971B44F34D}" srcOrd="0" destOrd="0" parTransId="{ACDFA3FC-3F83-42F9-9602-012C3C15F081}" sibTransId="{72A7524F-0798-4416-8730-7899717EA062}"/>
    <dgm:cxn modelId="{E0FCF3B0-FD91-4501-895B-407C9283E038}" type="presOf" srcId="{E8D54EA9-5A9E-49DF-8E56-67D0A540BA26}" destId="{D37A0CF1-9053-414E-A272-90BB1CE9975E}" srcOrd="1" destOrd="0" presId="urn:microsoft.com/office/officeart/2005/8/layout/cycle2"/>
    <dgm:cxn modelId="{760643B5-0375-47C0-B452-9EDA967F0A3B}" type="presOf" srcId="{3A2582AA-6DD1-4861-BE5F-633D571F4E5D}" destId="{ED7C4EC7-7045-4B42-A84F-75C8029A3E63}" srcOrd="0" destOrd="0" presId="urn:microsoft.com/office/officeart/2005/8/layout/cycle2"/>
    <dgm:cxn modelId="{46FBF1C1-B3C0-4C39-B7CF-DC77E3951B2D}" type="presOf" srcId="{E8D54EA9-5A9E-49DF-8E56-67D0A540BA26}" destId="{3B612EC5-477B-405C-959D-6D85AD954649}" srcOrd="0" destOrd="0" presId="urn:microsoft.com/office/officeart/2005/8/layout/cycle2"/>
    <dgm:cxn modelId="{CC017EC9-AFE0-453C-B7A7-6B3F11389B72}" type="presOf" srcId="{61B5895B-E4B9-43EE-8FB0-15971B44F34D}" destId="{E6E91D85-A7E5-4E15-B3FC-A8D605540757}" srcOrd="0" destOrd="0" presId="urn:microsoft.com/office/officeart/2005/8/layout/cycle2"/>
    <dgm:cxn modelId="{87847DD0-7FA9-4CB6-8FCD-AEE5E28045B3}" type="presOf" srcId="{9FFDF326-551D-4014-A9A9-6111AA92BF5D}" destId="{037730D9-676D-4162-92A7-B1B2066E9B35}" srcOrd="0" destOrd="0" presId="urn:microsoft.com/office/officeart/2005/8/layout/cycle2"/>
    <dgm:cxn modelId="{2F7467B8-C8A1-4C83-A9D9-A73BEF388611}" type="presParOf" srcId="{40029B1D-2A5D-423D-AE1A-5892C475923B}" destId="{E6E91D85-A7E5-4E15-B3FC-A8D605540757}" srcOrd="0" destOrd="0" presId="urn:microsoft.com/office/officeart/2005/8/layout/cycle2"/>
    <dgm:cxn modelId="{94B1DC21-FAD1-48F7-B50A-64475E9B3BA9}" type="presParOf" srcId="{40029B1D-2A5D-423D-AE1A-5892C475923B}" destId="{85B0733E-E5A0-4830-85DC-EABBC9C2FBD2}" srcOrd="1" destOrd="0" presId="urn:microsoft.com/office/officeart/2005/8/layout/cycle2"/>
    <dgm:cxn modelId="{6FCD0EE4-8411-430E-9C80-6D74BC4E18CC}" type="presParOf" srcId="{85B0733E-E5A0-4830-85DC-EABBC9C2FBD2}" destId="{11D103AC-7202-442D-849A-BD67371D538C}" srcOrd="0" destOrd="0" presId="urn:microsoft.com/office/officeart/2005/8/layout/cycle2"/>
    <dgm:cxn modelId="{6B4E2CB9-2845-467F-8A88-0CD4DF72174A}" type="presParOf" srcId="{40029B1D-2A5D-423D-AE1A-5892C475923B}" destId="{D0C417A6-F9FE-4E8C-BC0D-60759148F756}" srcOrd="2" destOrd="0" presId="urn:microsoft.com/office/officeart/2005/8/layout/cycle2"/>
    <dgm:cxn modelId="{9B56B12B-36D4-41E1-A58B-B2CF13F10715}" type="presParOf" srcId="{40029B1D-2A5D-423D-AE1A-5892C475923B}" destId="{581C9726-5A27-4B07-8624-113A383372EC}" srcOrd="3" destOrd="0" presId="urn:microsoft.com/office/officeart/2005/8/layout/cycle2"/>
    <dgm:cxn modelId="{1182B7C3-0907-4868-8AF0-C0AFA3D82AD0}" type="presParOf" srcId="{581C9726-5A27-4B07-8624-113A383372EC}" destId="{3637BC27-C707-4293-8E66-9D3CCA6B6B7F}" srcOrd="0" destOrd="0" presId="urn:microsoft.com/office/officeart/2005/8/layout/cycle2"/>
    <dgm:cxn modelId="{318232C6-FCE6-4BED-872E-5AA4AC52DB01}" type="presParOf" srcId="{40029B1D-2A5D-423D-AE1A-5892C475923B}" destId="{ED7C4EC7-7045-4B42-A84F-75C8029A3E63}" srcOrd="4" destOrd="0" presId="urn:microsoft.com/office/officeart/2005/8/layout/cycle2"/>
    <dgm:cxn modelId="{CB174B62-69D1-498C-A0BA-9DA982E151D2}" type="presParOf" srcId="{40029B1D-2A5D-423D-AE1A-5892C475923B}" destId="{037730D9-676D-4162-92A7-B1B2066E9B35}" srcOrd="5" destOrd="0" presId="urn:microsoft.com/office/officeart/2005/8/layout/cycle2"/>
    <dgm:cxn modelId="{A5C04F6D-4A69-4260-9D25-4C23C3FF6889}" type="presParOf" srcId="{037730D9-676D-4162-92A7-B1B2066E9B35}" destId="{7B07F0AB-9A8C-4818-9EA9-B2EFC450151E}" srcOrd="0" destOrd="0" presId="urn:microsoft.com/office/officeart/2005/8/layout/cycle2"/>
    <dgm:cxn modelId="{3ABE7CB9-9F56-42DE-8624-ECF7393542CB}" type="presParOf" srcId="{40029B1D-2A5D-423D-AE1A-5892C475923B}" destId="{C451CBA9-605F-473B-A3FF-ED2376DD2BD9}" srcOrd="6" destOrd="0" presId="urn:microsoft.com/office/officeart/2005/8/layout/cycle2"/>
    <dgm:cxn modelId="{DB207FB7-0D20-4783-95E2-9643E55C2D5D}" type="presParOf" srcId="{40029B1D-2A5D-423D-AE1A-5892C475923B}" destId="{3B612EC5-477B-405C-959D-6D85AD954649}" srcOrd="7" destOrd="0" presId="urn:microsoft.com/office/officeart/2005/8/layout/cycle2"/>
    <dgm:cxn modelId="{7FA7FCE8-A9B9-4FEC-8BDD-42FA359D723F}" type="presParOf" srcId="{3B612EC5-477B-405C-959D-6D85AD954649}" destId="{D37A0CF1-9053-414E-A272-90BB1CE9975E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A4F82D6-D240-49DE-B149-6D40BB5D076E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51B2950F-03EC-4123-A32E-322A485B5E5B}">
      <dgm:prSet/>
      <dgm:spPr/>
      <dgm:t>
        <a:bodyPr/>
        <a:lstStyle/>
        <a:p>
          <a:r>
            <a:rPr lang="sv-SE" dirty="0"/>
            <a:t>Samla resultat från uppföljning på övergripande nivå</a:t>
          </a:r>
        </a:p>
      </dgm:t>
    </dgm:pt>
    <dgm:pt modelId="{656DEBE7-A26C-412A-BD9E-82F865AA6324}" type="parTrans" cxnId="{035C23FF-B647-4E2B-8860-C8BAF9DFCF11}">
      <dgm:prSet/>
      <dgm:spPr/>
      <dgm:t>
        <a:bodyPr/>
        <a:lstStyle/>
        <a:p>
          <a:endParaRPr lang="sv-SE"/>
        </a:p>
      </dgm:t>
    </dgm:pt>
    <dgm:pt modelId="{303E40B2-02E6-42A9-B544-71FAFDB2D0D2}" type="sibTrans" cxnId="{035C23FF-B647-4E2B-8860-C8BAF9DFCF11}">
      <dgm:prSet/>
      <dgm:spPr/>
      <dgm:t>
        <a:bodyPr/>
        <a:lstStyle/>
        <a:p>
          <a:endParaRPr lang="sv-SE"/>
        </a:p>
      </dgm:t>
    </dgm:pt>
    <dgm:pt modelId="{F7D2500B-15B8-4B74-B69C-9D9F19926074}">
      <dgm:prSet/>
      <dgm:spPr/>
      <dgm:t>
        <a:bodyPr/>
        <a:lstStyle/>
        <a:p>
          <a:r>
            <a:rPr lang="sv-SE"/>
            <a:t>Egenkontroll, riskanalys, handlingsplan och åtgärder</a:t>
          </a:r>
          <a:endParaRPr lang="sv-SE" dirty="0"/>
        </a:p>
      </dgm:t>
    </dgm:pt>
    <dgm:pt modelId="{481CC393-1522-4341-B8DE-3CD319AA055F}" type="parTrans" cxnId="{6CE9720E-3711-42CE-B65F-399312C99D8E}">
      <dgm:prSet/>
      <dgm:spPr/>
      <dgm:t>
        <a:bodyPr/>
        <a:lstStyle/>
        <a:p>
          <a:endParaRPr lang="sv-SE"/>
        </a:p>
      </dgm:t>
    </dgm:pt>
    <dgm:pt modelId="{607BEBD0-5875-4522-9420-1C3A694EE23B}" type="sibTrans" cxnId="{6CE9720E-3711-42CE-B65F-399312C99D8E}">
      <dgm:prSet/>
      <dgm:spPr/>
      <dgm:t>
        <a:bodyPr/>
        <a:lstStyle/>
        <a:p>
          <a:endParaRPr lang="sv-SE"/>
        </a:p>
      </dgm:t>
    </dgm:pt>
    <dgm:pt modelId="{316694CB-BF10-4E33-BD26-E41E20A1FA34}">
      <dgm:prSet/>
      <dgm:spPr/>
      <dgm:t>
        <a:bodyPr/>
        <a:lstStyle/>
        <a:p>
          <a:r>
            <a:rPr lang="sv-SE" dirty="0"/>
            <a:t>Lärande organisation</a:t>
          </a:r>
        </a:p>
      </dgm:t>
    </dgm:pt>
    <dgm:pt modelId="{C38BF561-43BB-40D0-9D3E-D2474A6B7AE5}" type="parTrans" cxnId="{299675A9-4FF1-4D19-89E4-BC7AD8DEE992}">
      <dgm:prSet/>
      <dgm:spPr/>
      <dgm:t>
        <a:bodyPr/>
        <a:lstStyle/>
        <a:p>
          <a:endParaRPr lang="sv-SE"/>
        </a:p>
      </dgm:t>
    </dgm:pt>
    <dgm:pt modelId="{CD009F94-EA7A-41E3-B4E5-AF64E16F2668}" type="sibTrans" cxnId="{299675A9-4FF1-4D19-89E4-BC7AD8DEE992}">
      <dgm:prSet/>
      <dgm:spPr/>
      <dgm:t>
        <a:bodyPr/>
        <a:lstStyle/>
        <a:p>
          <a:endParaRPr lang="sv-SE"/>
        </a:p>
      </dgm:t>
    </dgm:pt>
    <dgm:pt modelId="{EAB2C77C-EA37-4C12-BE59-47DB119BE7A4}">
      <dgm:prSet/>
      <dgm:spPr/>
      <dgm:t>
        <a:bodyPr/>
        <a:lstStyle/>
        <a:p>
          <a:r>
            <a:rPr lang="sv-SE" dirty="0"/>
            <a:t>Brist – analysera, utred och åtgärda</a:t>
          </a:r>
        </a:p>
      </dgm:t>
    </dgm:pt>
    <dgm:pt modelId="{7AE6FACF-0B42-4D1B-B9E2-A17C717CB76E}" type="parTrans" cxnId="{6C608944-4717-485F-9953-41E6FE065A26}">
      <dgm:prSet/>
      <dgm:spPr/>
      <dgm:t>
        <a:bodyPr/>
        <a:lstStyle/>
        <a:p>
          <a:endParaRPr lang="sv-SE"/>
        </a:p>
      </dgm:t>
    </dgm:pt>
    <dgm:pt modelId="{69179A87-80F2-4E7F-B8B9-4ABBA55A308D}" type="sibTrans" cxnId="{6C608944-4717-485F-9953-41E6FE065A26}">
      <dgm:prSet/>
      <dgm:spPr/>
      <dgm:t>
        <a:bodyPr/>
        <a:lstStyle/>
        <a:p>
          <a:endParaRPr lang="sv-SE"/>
        </a:p>
      </dgm:t>
    </dgm:pt>
    <dgm:pt modelId="{8ABD8A53-0F72-4E0A-A22A-5AC2F101EB69}" type="pres">
      <dgm:prSet presAssocID="{DA4F82D6-D240-49DE-B149-6D40BB5D076E}" presName="matrix" presStyleCnt="0">
        <dgm:presLayoutVars>
          <dgm:chMax val="1"/>
          <dgm:dir/>
          <dgm:resizeHandles val="exact"/>
        </dgm:presLayoutVars>
      </dgm:prSet>
      <dgm:spPr/>
    </dgm:pt>
    <dgm:pt modelId="{557B9AA6-EF78-4764-8AD7-4C2E15617DED}" type="pres">
      <dgm:prSet presAssocID="{DA4F82D6-D240-49DE-B149-6D40BB5D076E}" presName="diamond" presStyleLbl="bgShp" presStyleIdx="0" presStyleCnt="1"/>
      <dgm:spPr/>
    </dgm:pt>
    <dgm:pt modelId="{2B7D8823-1D05-4A9A-A73B-C0103D8556A6}" type="pres">
      <dgm:prSet presAssocID="{DA4F82D6-D240-49DE-B149-6D40BB5D076E}" presName="quad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CE6E2C3-3358-4766-87FF-83B69FBE57A2}" type="pres">
      <dgm:prSet presAssocID="{DA4F82D6-D240-49DE-B149-6D40BB5D076E}" presName="quad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1060F0C6-3158-44B1-863A-FEE7F19B5B88}" type="pres">
      <dgm:prSet presAssocID="{DA4F82D6-D240-49DE-B149-6D40BB5D076E}" presName="quad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D160F8A-B3C7-4D9C-B88F-02D81A104A51}" type="pres">
      <dgm:prSet presAssocID="{DA4F82D6-D240-49DE-B149-6D40BB5D076E}" presName="quad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6CE9720E-3711-42CE-B65F-399312C99D8E}" srcId="{DA4F82D6-D240-49DE-B149-6D40BB5D076E}" destId="{F7D2500B-15B8-4B74-B69C-9D9F19926074}" srcOrd="1" destOrd="0" parTransId="{481CC393-1522-4341-B8DE-3CD319AA055F}" sibTransId="{607BEBD0-5875-4522-9420-1C3A694EE23B}"/>
    <dgm:cxn modelId="{1C30FE62-5D2E-41D0-9834-6C4E890114EE}" type="presOf" srcId="{316694CB-BF10-4E33-BD26-E41E20A1FA34}" destId="{1060F0C6-3158-44B1-863A-FEE7F19B5B88}" srcOrd="0" destOrd="0" presId="urn:microsoft.com/office/officeart/2005/8/layout/matrix3"/>
    <dgm:cxn modelId="{47FD0E44-FDEA-4E96-AE07-8785E6AA5A9D}" type="presOf" srcId="{DA4F82D6-D240-49DE-B149-6D40BB5D076E}" destId="{8ABD8A53-0F72-4E0A-A22A-5AC2F101EB69}" srcOrd="0" destOrd="0" presId="urn:microsoft.com/office/officeart/2005/8/layout/matrix3"/>
    <dgm:cxn modelId="{6C608944-4717-485F-9953-41E6FE065A26}" srcId="{DA4F82D6-D240-49DE-B149-6D40BB5D076E}" destId="{EAB2C77C-EA37-4C12-BE59-47DB119BE7A4}" srcOrd="3" destOrd="0" parTransId="{7AE6FACF-0B42-4D1B-B9E2-A17C717CB76E}" sibTransId="{69179A87-80F2-4E7F-B8B9-4ABBA55A308D}"/>
    <dgm:cxn modelId="{8EBEA08C-AD48-4020-9222-D5E69188E73D}" type="presOf" srcId="{F7D2500B-15B8-4B74-B69C-9D9F19926074}" destId="{BCE6E2C3-3358-4766-87FF-83B69FBE57A2}" srcOrd="0" destOrd="0" presId="urn:microsoft.com/office/officeart/2005/8/layout/matrix3"/>
    <dgm:cxn modelId="{8F9B858D-175B-49B0-9EA6-C1ECB21C30B1}" type="presOf" srcId="{51B2950F-03EC-4123-A32E-322A485B5E5B}" destId="{2B7D8823-1D05-4A9A-A73B-C0103D8556A6}" srcOrd="0" destOrd="0" presId="urn:microsoft.com/office/officeart/2005/8/layout/matrix3"/>
    <dgm:cxn modelId="{299675A9-4FF1-4D19-89E4-BC7AD8DEE992}" srcId="{DA4F82D6-D240-49DE-B149-6D40BB5D076E}" destId="{316694CB-BF10-4E33-BD26-E41E20A1FA34}" srcOrd="2" destOrd="0" parTransId="{C38BF561-43BB-40D0-9D3E-D2474A6B7AE5}" sibTransId="{CD009F94-EA7A-41E3-B4E5-AF64E16F2668}"/>
    <dgm:cxn modelId="{31EC76C1-503F-4191-A3DF-C6890335064E}" type="presOf" srcId="{EAB2C77C-EA37-4C12-BE59-47DB119BE7A4}" destId="{BD160F8A-B3C7-4D9C-B88F-02D81A104A51}" srcOrd="0" destOrd="0" presId="urn:microsoft.com/office/officeart/2005/8/layout/matrix3"/>
    <dgm:cxn modelId="{035C23FF-B647-4E2B-8860-C8BAF9DFCF11}" srcId="{DA4F82D6-D240-49DE-B149-6D40BB5D076E}" destId="{51B2950F-03EC-4123-A32E-322A485B5E5B}" srcOrd="0" destOrd="0" parTransId="{656DEBE7-A26C-412A-BD9E-82F865AA6324}" sibTransId="{303E40B2-02E6-42A9-B544-71FAFDB2D0D2}"/>
    <dgm:cxn modelId="{648DABE8-7976-474F-A50B-365681EE81CB}" type="presParOf" srcId="{8ABD8A53-0F72-4E0A-A22A-5AC2F101EB69}" destId="{557B9AA6-EF78-4764-8AD7-4C2E15617DED}" srcOrd="0" destOrd="0" presId="urn:microsoft.com/office/officeart/2005/8/layout/matrix3"/>
    <dgm:cxn modelId="{3386577D-CE3F-400C-984B-3ADC614EF1C4}" type="presParOf" srcId="{8ABD8A53-0F72-4E0A-A22A-5AC2F101EB69}" destId="{2B7D8823-1D05-4A9A-A73B-C0103D8556A6}" srcOrd="1" destOrd="0" presId="urn:microsoft.com/office/officeart/2005/8/layout/matrix3"/>
    <dgm:cxn modelId="{11B4C608-1727-4EB6-AA22-98B68DCB40BD}" type="presParOf" srcId="{8ABD8A53-0F72-4E0A-A22A-5AC2F101EB69}" destId="{BCE6E2C3-3358-4766-87FF-83B69FBE57A2}" srcOrd="2" destOrd="0" presId="urn:microsoft.com/office/officeart/2005/8/layout/matrix3"/>
    <dgm:cxn modelId="{F588766A-2F53-4674-998F-FA4DBB66AA46}" type="presParOf" srcId="{8ABD8A53-0F72-4E0A-A22A-5AC2F101EB69}" destId="{1060F0C6-3158-44B1-863A-FEE7F19B5B88}" srcOrd="3" destOrd="0" presId="urn:microsoft.com/office/officeart/2005/8/layout/matrix3"/>
    <dgm:cxn modelId="{670E46D8-ABF3-465F-BD6A-C58E62EA6DDC}" type="presParOf" srcId="{8ABD8A53-0F72-4E0A-A22A-5AC2F101EB69}" destId="{BD160F8A-B3C7-4D9C-B88F-02D81A104A51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64F6440-228F-4D6B-AC08-333DABBAD42D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sv-SE"/>
        </a:p>
      </dgm:t>
    </dgm:pt>
    <dgm:pt modelId="{61B5895B-E4B9-43EE-8FB0-15971B44F34D}">
      <dgm:prSet/>
      <dgm:spPr/>
      <dgm:t>
        <a:bodyPr/>
        <a:lstStyle/>
        <a:p>
          <a:r>
            <a:rPr lang="sv-SE"/>
            <a:t>Plan </a:t>
          </a:r>
        </a:p>
      </dgm:t>
    </dgm:pt>
    <dgm:pt modelId="{ACDFA3FC-3F83-42F9-9602-012C3C15F081}" type="parTrans" cxnId="{8C4B8DA7-7DEB-4469-ADE5-A1273ACB975C}">
      <dgm:prSet/>
      <dgm:spPr/>
      <dgm:t>
        <a:bodyPr/>
        <a:lstStyle/>
        <a:p>
          <a:endParaRPr lang="sv-SE"/>
        </a:p>
      </dgm:t>
    </dgm:pt>
    <dgm:pt modelId="{72A7524F-0798-4416-8730-7899717EA062}" type="sibTrans" cxnId="{8C4B8DA7-7DEB-4469-ADE5-A1273ACB975C}">
      <dgm:prSet/>
      <dgm:spPr/>
      <dgm:t>
        <a:bodyPr/>
        <a:lstStyle/>
        <a:p>
          <a:endParaRPr lang="sv-SE"/>
        </a:p>
      </dgm:t>
    </dgm:pt>
    <dgm:pt modelId="{0B966A63-60D7-4D6E-B9BE-BF76A33689E9}">
      <dgm:prSet/>
      <dgm:spPr/>
      <dgm:t>
        <a:bodyPr/>
        <a:lstStyle/>
        <a:p>
          <a:r>
            <a:rPr lang="sv-SE"/>
            <a:t>Do </a:t>
          </a:r>
        </a:p>
      </dgm:t>
    </dgm:pt>
    <dgm:pt modelId="{BB51DFD4-AD11-4A4F-9470-AC8A15CB7991}" type="parTrans" cxnId="{50A6D283-66B2-46B7-B294-D5C6A94DA68D}">
      <dgm:prSet/>
      <dgm:spPr/>
      <dgm:t>
        <a:bodyPr/>
        <a:lstStyle/>
        <a:p>
          <a:endParaRPr lang="sv-SE"/>
        </a:p>
      </dgm:t>
    </dgm:pt>
    <dgm:pt modelId="{9D78C0F7-09EF-4196-8065-270CF20465AE}" type="sibTrans" cxnId="{50A6D283-66B2-46B7-B294-D5C6A94DA68D}">
      <dgm:prSet/>
      <dgm:spPr/>
      <dgm:t>
        <a:bodyPr/>
        <a:lstStyle/>
        <a:p>
          <a:endParaRPr lang="sv-SE"/>
        </a:p>
      </dgm:t>
    </dgm:pt>
    <dgm:pt modelId="{3A2582AA-6DD1-4861-BE5F-633D571F4E5D}">
      <dgm:prSet/>
      <dgm:spPr/>
      <dgm:t>
        <a:bodyPr/>
        <a:lstStyle/>
        <a:p>
          <a:r>
            <a:rPr lang="sv-SE"/>
            <a:t>Study </a:t>
          </a:r>
        </a:p>
      </dgm:t>
    </dgm:pt>
    <dgm:pt modelId="{733E3DFB-5642-4A72-99A8-4BBFF6C5C2E5}" type="parTrans" cxnId="{C16460A0-C3DB-48DC-96C6-C884065C0551}">
      <dgm:prSet/>
      <dgm:spPr/>
      <dgm:t>
        <a:bodyPr/>
        <a:lstStyle/>
        <a:p>
          <a:endParaRPr lang="sv-SE"/>
        </a:p>
      </dgm:t>
    </dgm:pt>
    <dgm:pt modelId="{9FFDF326-551D-4014-A9A9-6111AA92BF5D}" type="sibTrans" cxnId="{C16460A0-C3DB-48DC-96C6-C884065C0551}">
      <dgm:prSet/>
      <dgm:spPr/>
      <dgm:t>
        <a:bodyPr/>
        <a:lstStyle/>
        <a:p>
          <a:endParaRPr lang="sv-SE"/>
        </a:p>
      </dgm:t>
    </dgm:pt>
    <dgm:pt modelId="{F8CD27E2-5D92-4A4D-944D-1B5C79BF7B56}">
      <dgm:prSet/>
      <dgm:spPr/>
      <dgm:t>
        <a:bodyPr/>
        <a:lstStyle/>
        <a:p>
          <a:r>
            <a:rPr lang="sv-SE"/>
            <a:t>Act</a:t>
          </a:r>
        </a:p>
      </dgm:t>
    </dgm:pt>
    <dgm:pt modelId="{2B8B68D6-0B35-4FDA-BA1C-DDAB6013C231}" type="parTrans" cxnId="{A5FC6D07-9CE0-40CA-A484-CA2778D7774F}">
      <dgm:prSet/>
      <dgm:spPr/>
      <dgm:t>
        <a:bodyPr/>
        <a:lstStyle/>
        <a:p>
          <a:endParaRPr lang="sv-SE"/>
        </a:p>
      </dgm:t>
    </dgm:pt>
    <dgm:pt modelId="{E8D54EA9-5A9E-49DF-8E56-67D0A540BA26}" type="sibTrans" cxnId="{A5FC6D07-9CE0-40CA-A484-CA2778D7774F}">
      <dgm:prSet/>
      <dgm:spPr/>
      <dgm:t>
        <a:bodyPr/>
        <a:lstStyle/>
        <a:p>
          <a:endParaRPr lang="sv-SE"/>
        </a:p>
      </dgm:t>
    </dgm:pt>
    <dgm:pt modelId="{40029B1D-2A5D-423D-AE1A-5892C475923B}" type="pres">
      <dgm:prSet presAssocID="{E64F6440-228F-4D6B-AC08-333DABBAD42D}" presName="cycle" presStyleCnt="0">
        <dgm:presLayoutVars>
          <dgm:dir/>
          <dgm:resizeHandles val="exact"/>
        </dgm:presLayoutVars>
      </dgm:prSet>
      <dgm:spPr/>
    </dgm:pt>
    <dgm:pt modelId="{E6E91D85-A7E5-4E15-B3FC-A8D605540757}" type="pres">
      <dgm:prSet presAssocID="{61B5895B-E4B9-43EE-8FB0-15971B44F34D}" presName="node" presStyleLbl="node1" presStyleIdx="0" presStyleCnt="4" custRadScaleRad="92579" custRadScaleInc="-13890">
        <dgm:presLayoutVars>
          <dgm:bulletEnabled val="1"/>
        </dgm:presLayoutVars>
      </dgm:prSet>
      <dgm:spPr/>
    </dgm:pt>
    <dgm:pt modelId="{85B0733E-E5A0-4830-85DC-EABBC9C2FBD2}" type="pres">
      <dgm:prSet presAssocID="{72A7524F-0798-4416-8730-7899717EA062}" presName="sibTrans" presStyleLbl="sibTrans2D1" presStyleIdx="0" presStyleCnt="4"/>
      <dgm:spPr/>
    </dgm:pt>
    <dgm:pt modelId="{11D103AC-7202-442D-849A-BD67371D538C}" type="pres">
      <dgm:prSet presAssocID="{72A7524F-0798-4416-8730-7899717EA062}" presName="connectorText" presStyleLbl="sibTrans2D1" presStyleIdx="0" presStyleCnt="4"/>
      <dgm:spPr/>
    </dgm:pt>
    <dgm:pt modelId="{D0C417A6-F9FE-4E8C-BC0D-60759148F756}" type="pres">
      <dgm:prSet presAssocID="{0B966A63-60D7-4D6E-B9BE-BF76A33689E9}" presName="node" presStyleLbl="node1" presStyleIdx="1" presStyleCnt="4">
        <dgm:presLayoutVars>
          <dgm:bulletEnabled val="1"/>
        </dgm:presLayoutVars>
      </dgm:prSet>
      <dgm:spPr/>
    </dgm:pt>
    <dgm:pt modelId="{581C9726-5A27-4B07-8624-113A383372EC}" type="pres">
      <dgm:prSet presAssocID="{9D78C0F7-09EF-4196-8065-270CF20465AE}" presName="sibTrans" presStyleLbl="sibTrans2D1" presStyleIdx="1" presStyleCnt="4"/>
      <dgm:spPr/>
    </dgm:pt>
    <dgm:pt modelId="{3637BC27-C707-4293-8E66-9D3CCA6B6B7F}" type="pres">
      <dgm:prSet presAssocID="{9D78C0F7-09EF-4196-8065-270CF20465AE}" presName="connectorText" presStyleLbl="sibTrans2D1" presStyleIdx="1" presStyleCnt="4"/>
      <dgm:spPr/>
    </dgm:pt>
    <dgm:pt modelId="{ED7C4EC7-7045-4B42-A84F-75C8029A3E63}" type="pres">
      <dgm:prSet presAssocID="{3A2582AA-6DD1-4861-BE5F-633D571F4E5D}" presName="node" presStyleLbl="node1" presStyleIdx="2" presStyleCnt="4">
        <dgm:presLayoutVars>
          <dgm:bulletEnabled val="1"/>
        </dgm:presLayoutVars>
      </dgm:prSet>
      <dgm:spPr/>
    </dgm:pt>
    <dgm:pt modelId="{037730D9-676D-4162-92A7-B1B2066E9B35}" type="pres">
      <dgm:prSet presAssocID="{9FFDF326-551D-4014-A9A9-6111AA92BF5D}" presName="sibTrans" presStyleLbl="sibTrans2D1" presStyleIdx="2" presStyleCnt="4"/>
      <dgm:spPr/>
    </dgm:pt>
    <dgm:pt modelId="{7B07F0AB-9A8C-4818-9EA9-B2EFC450151E}" type="pres">
      <dgm:prSet presAssocID="{9FFDF326-551D-4014-A9A9-6111AA92BF5D}" presName="connectorText" presStyleLbl="sibTrans2D1" presStyleIdx="2" presStyleCnt="4"/>
      <dgm:spPr/>
    </dgm:pt>
    <dgm:pt modelId="{C451CBA9-605F-473B-A3FF-ED2376DD2BD9}" type="pres">
      <dgm:prSet presAssocID="{F8CD27E2-5D92-4A4D-944D-1B5C79BF7B56}" presName="node" presStyleLbl="node1" presStyleIdx="3" presStyleCnt="4">
        <dgm:presLayoutVars>
          <dgm:bulletEnabled val="1"/>
        </dgm:presLayoutVars>
      </dgm:prSet>
      <dgm:spPr/>
    </dgm:pt>
    <dgm:pt modelId="{3B612EC5-477B-405C-959D-6D85AD954649}" type="pres">
      <dgm:prSet presAssocID="{E8D54EA9-5A9E-49DF-8E56-67D0A540BA26}" presName="sibTrans" presStyleLbl="sibTrans2D1" presStyleIdx="3" presStyleCnt="4"/>
      <dgm:spPr/>
    </dgm:pt>
    <dgm:pt modelId="{D37A0CF1-9053-414E-A272-90BB1CE9975E}" type="pres">
      <dgm:prSet presAssocID="{E8D54EA9-5A9E-49DF-8E56-67D0A540BA26}" presName="connectorText" presStyleLbl="sibTrans2D1" presStyleIdx="3" presStyleCnt="4"/>
      <dgm:spPr/>
    </dgm:pt>
  </dgm:ptLst>
  <dgm:cxnLst>
    <dgm:cxn modelId="{A5FC6D07-9CE0-40CA-A484-CA2778D7774F}" srcId="{E64F6440-228F-4D6B-AC08-333DABBAD42D}" destId="{F8CD27E2-5D92-4A4D-944D-1B5C79BF7B56}" srcOrd="3" destOrd="0" parTransId="{2B8B68D6-0B35-4FDA-BA1C-DDAB6013C231}" sibTransId="{E8D54EA9-5A9E-49DF-8E56-67D0A540BA26}"/>
    <dgm:cxn modelId="{3094AB3C-42BD-467D-9BB9-750C6762F812}" type="presOf" srcId="{E64F6440-228F-4D6B-AC08-333DABBAD42D}" destId="{40029B1D-2A5D-423D-AE1A-5892C475923B}" srcOrd="0" destOrd="0" presId="urn:microsoft.com/office/officeart/2005/8/layout/cycle2"/>
    <dgm:cxn modelId="{2601694B-8D09-4584-AAF5-02D70311EF8C}" type="presOf" srcId="{F8CD27E2-5D92-4A4D-944D-1B5C79BF7B56}" destId="{C451CBA9-605F-473B-A3FF-ED2376DD2BD9}" srcOrd="0" destOrd="0" presId="urn:microsoft.com/office/officeart/2005/8/layout/cycle2"/>
    <dgm:cxn modelId="{BDEEA653-B2FE-4230-9704-A17574DA496D}" type="presOf" srcId="{9D78C0F7-09EF-4196-8065-270CF20465AE}" destId="{3637BC27-C707-4293-8E66-9D3CCA6B6B7F}" srcOrd="1" destOrd="0" presId="urn:microsoft.com/office/officeart/2005/8/layout/cycle2"/>
    <dgm:cxn modelId="{BCFDF980-33C7-4F16-8C51-8D85BB615D4E}" type="presOf" srcId="{0B966A63-60D7-4D6E-B9BE-BF76A33689E9}" destId="{D0C417A6-F9FE-4E8C-BC0D-60759148F756}" srcOrd="0" destOrd="0" presId="urn:microsoft.com/office/officeart/2005/8/layout/cycle2"/>
    <dgm:cxn modelId="{ED814683-21C5-49BC-AA0D-A0A55C8F5D35}" type="presOf" srcId="{72A7524F-0798-4416-8730-7899717EA062}" destId="{85B0733E-E5A0-4830-85DC-EABBC9C2FBD2}" srcOrd="0" destOrd="0" presId="urn:microsoft.com/office/officeart/2005/8/layout/cycle2"/>
    <dgm:cxn modelId="{50A6D283-66B2-46B7-B294-D5C6A94DA68D}" srcId="{E64F6440-228F-4D6B-AC08-333DABBAD42D}" destId="{0B966A63-60D7-4D6E-B9BE-BF76A33689E9}" srcOrd="1" destOrd="0" parTransId="{BB51DFD4-AD11-4A4F-9470-AC8A15CB7991}" sibTransId="{9D78C0F7-09EF-4196-8065-270CF20465AE}"/>
    <dgm:cxn modelId="{4B35B18E-5790-4A0D-997B-1B5F6F3C239A}" type="presOf" srcId="{72A7524F-0798-4416-8730-7899717EA062}" destId="{11D103AC-7202-442D-849A-BD67371D538C}" srcOrd="1" destOrd="0" presId="urn:microsoft.com/office/officeart/2005/8/layout/cycle2"/>
    <dgm:cxn modelId="{15D66E8F-ABB3-49E7-A52E-66580854263A}" type="presOf" srcId="{9D78C0F7-09EF-4196-8065-270CF20465AE}" destId="{581C9726-5A27-4B07-8624-113A383372EC}" srcOrd="0" destOrd="0" presId="urn:microsoft.com/office/officeart/2005/8/layout/cycle2"/>
    <dgm:cxn modelId="{C16460A0-C3DB-48DC-96C6-C884065C0551}" srcId="{E64F6440-228F-4D6B-AC08-333DABBAD42D}" destId="{3A2582AA-6DD1-4861-BE5F-633D571F4E5D}" srcOrd="2" destOrd="0" parTransId="{733E3DFB-5642-4A72-99A8-4BBFF6C5C2E5}" sibTransId="{9FFDF326-551D-4014-A9A9-6111AA92BF5D}"/>
    <dgm:cxn modelId="{351862A5-9107-4181-864B-84205DAD3FDF}" type="presOf" srcId="{9FFDF326-551D-4014-A9A9-6111AA92BF5D}" destId="{7B07F0AB-9A8C-4818-9EA9-B2EFC450151E}" srcOrd="1" destOrd="0" presId="urn:microsoft.com/office/officeart/2005/8/layout/cycle2"/>
    <dgm:cxn modelId="{8C4B8DA7-7DEB-4469-ADE5-A1273ACB975C}" srcId="{E64F6440-228F-4D6B-AC08-333DABBAD42D}" destId="{61B5895B-E4B9-43EE-8FB0-15971B44F34D}" srcOrd="0" destOrd="0" parTransId="{ACDFA3FC-3F83-42F9-9602-012C3C15F081}" sibTransId="{72A7524F-0798-4416-8730-7899717EA062}"/>
    <dgm:cxn modelId="{E0FCF3B0-FD91-4501-895B-407C9283E038}" type="presOf" srcId="{E8D54EA9-5A9E-49DF-8E56-67D0A540BA26}" destId="{D37A0CF1-9053-414E-A272-90BB1CE9975E}" srcOrd="1" destOrd="0" presId="urn:microsoft.com/office/officeart/2005/8/layout/cycle2"/>
    <dgm:cxn modelId="{760643B5-0375-47C0-B452-9EDA967F0A3B}" type="presOf" srcId="{3A2582AA-6DD1-4861-BE5F-633D571F4E5D}" destId="{ED7C4EC7-7045-4B42-A84F-75C8029A3E63}" srcOrd="0" destOrd="0" presId="urn:microsoft.com/office/officeart/2005/8/layout/cycle2"/>
    <dgm:cxn modelId="{46FBF1C1-B3C0-4C39-B7CF-DC77E3951B2D}" type="presOf" srcId="{E8D54EA9-5A9E-49DF-8E56-67D0A540BA26}" destId="{3B612EC5-477B-405C-959D-6D85AD954649}" srcOrd="0" destOrd="0" presId="urn:microsoft.com/office/officeart/2005/8/layout/cycle2"/>
    <dgm:cxn modelId="{CC017EC9-AFE0-453C-B7A7-6B3F11389B72}" type="presOf" srcId="{61B5895B-E4B9-43EE-8FB0-15971B44F34D}" destId="{E6E91D85-A7E5-4E15-B3FC-A8D605540757}" srcOrd="0" destOrd="0" presId="urn:microsoft.com/office/officeart/2005/8/layout/cycle2"/>
    <dgm:cxn modelId="{87847DD0-7FA9-4CB6-8FCD-AEE5E28045B3}" type="presOf" srcId="{9FFDF326-551D-4014-A9A9-6111AA92BF5D}" destId="{037730D9-676D-4162-92A7-B1B2066E9B35}" srcOrd="0" destOrd="0" presId="urn:microsoft.com/office/officeart/2005/8/layout/cycle2"/>
    <dgm:cxn modelId="{2F7467B8-C8A1-4C83-A9D9-A73BEF388611}" type="presParOf" srcId="{40029B1D-2A5D-423D-AE1A-5892C475923B}" destId="{E6E91D85-A7E5-4E15-B3FC-A8D605540757}" srcOrd="0" destOrd="0" presId="urn:microsoft.com/office/officeart/2005/8/layout/cycle2"/>
    <dgm:cxn modelId="{94B1DC21-FAD1-48F7-B50A-64475E9B3BA9}" type="presParOf" srcId="{40029B1D-2A5D-423D-AE1A-5892C475923B}" destId="{85B0733E-E5A0-4830-85DC-EABBC9C2FBD2}" srcOrd="1" destOrd="0" presId="urn:microsoft.com/office/officeart/2005/8/layout/cycle2"/>
    <dgm:cxn modelId="{6FCD0EE4-8411-430E-9C80-6D74BC4E18CC}" type="presParOf" srcId="{85B0733E-E5A0-4830-85DC-EABBC9C2FBD2}" destId="{11D103AC-7202-442D-849A-BD67371D538C}" srcOrd="0" destOrd="0" presId="urn:microsoft.com/office/officeart/2005/8/layout/cycle2"/>
    <dgm:cxn modelId="{6B4E2CB9-2845-467F-8A88-0CD4DF72174A}" type="presParOf" srcId="{40029B1D-2A5D-423D-AE1A-5892C475923B}" destId="{D0C417A6-F9FE-4E8C-BC0D-60759148F756}" srcOrd="2" destOrd="0" presId="urn:microsoft.com/office/officeart/2005/8/layout/cycle2"/>
    <dgm:cxn modelId="{9B56B12B-36D4-41E1-A58B-B2CF13F10715}" type="presParOf" srcId="{40029B1D-2A5D-423D-AE1A-5892C475923B}" destId="{581C9726-5A27-4B07-8624-113A383372EC}" srcOrd="3" destOrd="0" presId="urn:microsoft.com/office/officeart/2005/8/layout/cycle2"/>
    <dgm:cxn modelId="{1182B7C3-0907-4868-8AF0-C0AFA3D82AD0}" type="presParOf" srcId="{581C9726-5A27-4B07-8624-113A383372EC}" destId="{3637BC27-C707-4293-8E66-9D3CCA6B6B7F}" srcOrd="0" destOrd="0" presId="urn:microsoft.com/office/officeart/2005/8/layout/cycle2"/>
    <dgm:cxn modelId="{318232C6-FCE6-4BED-872E-5AA4AC52DB01}" type="presParOf" srcId="{40029B1D-2A5D-423D-AE1A-5892C475923B}" destId="{ED7C4EC7-7045-4B42-A84F-75C8029A3E63}" srcOrd="4" destOrd="0" presId="urn:microsoft.com/office/officeart/2005/8/layout/cycle2"/>
    <dgm:cxn modelId="{CB174B62-69D1-498C-A0BA-9DA982E151D2}" type="presParOf" srcId="{40029B1D-2A5D-423D-AE1A-5892C475923B}" destId="{037730D9-676D-4162-92A7-B1B2066E9B35}" srcOrd="5" destOrd="0" presId="urn:microsoft.com/office/officeart/2005/8/layout/cycle2"/>
    <dgm:cxn modelId="{A5C04F6D-4A69-4260-9D25-4C23C3FF6889}" type="presParOf" srcId="{037730D9-676D-4162-92A7-B1B2066E9B35}" destId="{7B07F0AB-9A8C-4818-9EA9-B2EFC450151E}" srcOrd="0" destOrd="0" presId="urn:microsoft.com/office/officeart/2005/8/layout/cycle2"/>
    <dgm:cxn modelId="{3ABE7CB9-9F56-42DE-8624-ECF7393542CB}" type="presParOf" srcId="{40029B1D-2A5D-423D-AE1A-5892C475923B}" destId="{C451CBA9-605F-473B-A3FF-ED2376DD2BD9}" srcOrd="6" destOrd="0" presId="urn:microsoft.com/office/officeart/2005/8/layout/cycle2"/>
    <dgm:cxn modelId="{DB207FB7-0D20-4783-95E2-9643E55C2D5D}" type="presParOf" srcId="{40029B1D-2A5D-423D-AE1A-5892C475923B}" destId="{3B612EC5-477B-405C-959D-6D85AD954649}" srcOrd="7" destOrd="0" presId="urn:microsoft.com/office/officeart/2005/8/layout/cycle2"/>
    <dgm:cxn modelId="{7FA7FCE8-A9B9-4FEC-8BDD-42FA359D723F}" type="presParOf" srcId="{3B612EC5-477B-405C-959D-6D85AD954649}" destId="{D37A0CF1-9053-414E-A272-90BB1CE9975E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89DD9AA-CA08-48AD-B2EE-783588E5170F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7903CBFD-FA45-49A2-A8D0-969D0C7C4DC4}">
      <dgm:prSet/>
      <dgm:spPr/>
      <dgm:t>
        <a:bodyPr/>
        <a:lstStyle/>
        <a:p>
          <a:r>
            <a:rPr lang="sv-SE" dirty="0"/>
            <a:t>Huvudman – lokaler anpassas till de hygienkrav som ställs på verksamheten</a:t>
          </a:r>
        </a:p>
      </dgm:t>
    </dgm:pt>
    <dgm:pt modelId="{D1BE0259-383E-483A-8349-EBC99C38ED6E}" type="parTrans" cxnId="{613A30A9-C544-4036-9622-0C8599B29346}">
      <dgm:prSet/>
      <dgm:spPr/>
      <dgm:t>
        <a:bodyPr/>
        <a:lstStyle/>
        <a:p>
          <a:endParaRPr lang="sv-SE"/>
        </a:p>
      </dgm:t>
    </dgm:pt>
    <dgm:pt modelId="{CF2A52A4-7A84-4E18-A676-10336734F69D}" type="sibTrans" cxnId="{613A30A9-C544-4036-9622-0C8599B29346}">
      <dgm:prSet/>
      <dgm:spPr/>
      <dgm:t>
        <a:bodyPr/>
        <a:lstStyle/>
        <a:p>
          <a:endParaRPr lang="sv-SE"/>
        </a:p>
      </dgm:t>
    </dgm:pt>
    <dgm:pt modelId="{4A87CAA9-C1FA-40BD-B4D1-9D10F359EC03}">
      <dgm:prSet/>
      <dgm:spPr/>
      <dgm:t>
        <a:bodyPr/>
        <a:lstStyle/>
        <a:p>
          <a:r>
            <a:rPr lang="sv-SE" dirty="0"/>
            <a:t>Huvudman – vårdhygieniska krav ställs i upphandlingar, vårdhygienisk expertis är sakkunnig</a:t>
          </a:r>
        </a:p>
      </dgm:t>
    </dgm:pt>
    <dgm:pt modelId="{1B9FC0D5-6DF6-4D92-9CB0-8894112DD39A}" type="parTrans" cxnId="{D3887941-1FB1-4DCA-9D9E-71DD865A3FE4}">
      <dgm:prSet/>
      <dgm:spPr/>
      <dgm:t>
        <a:bodyPr/>
        <a:lstStyle/>
        <a:p>
          <a:endParaRPr lang="sv-SE"/>
        </a:p>
      </dgm:t>
    </dgm:pt>
    <dgm:pt modelId="{0353A7D9-C652-46E6-B6A2-82951D2EE025}" type="sibTrans" cxnId="{D3887941-1FB1-4DCA-9D9E-71DD865A3FE4}">
      <dgm:prSet/>
      <dgm:spPr/>
      <dgm:t>
        <a:bodyPr/>
        <a:lstStyle/>
        <a:p>
          <a:endParaRPr lang="sv-SE"/>
        </a:p>
      </dgm:t>
    </dgm:pt>
    <dgm:pt modelId="{F2A6021D-CF53-4921-8ED4-ADE4071B3E9F}">
      <dgm:prSet/>
      <dgm:spPr/>
      <dgm:t>
        <a:bodyPr/>
        <a:lstStyle/>
        <a:p>
          <a:r>
            <a:rPr lang="sv-SE" dirty="0"/>
            <a:t>Huvudman – vårdhygieniska krav ställs vid ny- och ombyggnation, vårdhygienisk expertis är sakkunnig</a:t>
          </a:r>
        </a:p>
      </dgm:t>
    </dgm:pt>
    <dgm:pt modelId="{FC645FC2-CE90-4ECE-BC86-F3DC57ADEF93}" type="parTrans" cxnId="{EC9FCE4C-884B-4E11-817C-5C3104C055BB}">
      <dgm:prSet/>
      <dgm:spPr/>
      <dgm:t>
        <a:bodyPr/>
        <a:lstStyle/>
        <a:p>
          <a:endParaRPr lang="sv-SE"/>
        </a:p>
      </dgm:t>
    </dgm:pt>
    <dgm:pt modelId="{BB789CC4-57B5-4C1D-B2D5-67ED788B2EE3}" type="sibTrans" cxnId="{EC9FCE4C-884B-4E11-817C-5C3104C055BB}">
      <dgm:prSet/>
      <dgm:spPr/>
      <dgm:t>
        <a:bodyPr/>
        <a:lstStyle/>
        <a:p>
          <a:endParaRPr lang="sv-SE"/>
        </a:p>
      </dgm:t>
    </dgm:pt>
    <dgm:pt modelId="{C0F47237-BAAD-4B3D-BB4F-614A33F0259C}" type="pres">
      <dgm:prSet presAssocID="{E89DD9AA-CA08-48AD-B2EE-783588E5170F}" presName="Name0" presStyleCnt="0">
        <dgm:presLayoutVars>
          <dgm:dir/>
          <dgm:resizeHandles val="exact"/>
        </dgm:presLayoutVars>
      </dgm:prSet>
      <dgm:spPr/>
    </dgm:pt>
    <dgm:pt modelId="{412BF510-8C8C-4924-865C-63FC04E0C5E0}" type="pres">
      <dgm:prSet presAssocID="{E89DD9AA-CA08-48AD-B2EE-783588E5170F}" presName="arrow" presStyleLbl="bgShp" presStyleIdx="0" presStyleCnt="1"/>
      <dgm:spPr/>
    </dgm:pt>
    <dgm:pt modelId="{3250C92D-4BFA-4375-972C-3070A24773B0}" type="pres">
      <dgm:prSet presAssocID="{E89DD9AA-CA08-48AD-B2EE-783588E5170F}" presName="points" presStyleCnt="0"/>
      <dgm:spPr/>
    </dgm:pt>
    <dgm:pt modelId="{5E9BA4FD-095E-4DDB-B3D6-E14CD9E30A17}" type="pres">
      <dgm:prSet presAssocID="{7903CBFD-FA45-49A2-A8D0-969D0C7C4DC4}" presName="compositeA" presStyleCnt="0"/>
      <dgm:spPr/>
    </dgm:pt>
    <dgm:pt modelId="{21CFE2A4-A4B3-412E-9C13-ED8270D7EBF1}" type="pres">
      <dgm:prSet presAssocID="{7903CBFD-FA45-49A2-A8D0-969D0C7C4DC4}" presName="textA" presStyleLbl="revTx" presStyleIdx="0" presStyleCnt="3">
        <dgm:presLayoutVars>
          <dgm:bulletEnabled val="1"/>
        </dgm:presLayoutVars>
      </dgm:prSet>
      <dgm:spPr/>
    </dgm:pt>
    <dgm:pt modelId="{469C6E21-3083-47C6-B7F6-4070C5F3F38B}" type="pres">
      <dgm:prSet presAssocID="{7903CBFD-FA45-49A2-A8D0-969D0C7C4DC4}" presName="circleA" presStyleLbl="node1" presStyleIdx="0" presStyleCnt="3"/>
      <dgm:spPr/>
    </dgm:pt>
    <dgm:pt modelId="{0EF9FCB5-9780-45DA-B539-98FC37E953C7}" type="pres">
      <dgm:prSet presAssocID="{7903CBFD-FA45-49A2-A8D0-969D0C7C4DC4}" presName="spaceA" presStyleCnt="0"/>
      <dgm:spPr/>
    </dgm:pt>
    <dgm:pt modelId="{7FF13929-68DF-4091-88A7-862135B04FFC}" type="pres">
      <dgm:prSet presAssocID="{CF2A52A4-7A84-4E18-A676-10336734F69D}" presName="space" presStyleCnt="0"/>
      <dgm:spPr/>
    </dgm:pt>
    <dgm:pt modelId="{09E2CB78-91CD-4CDD-AF1E-1DA2F2A057E0}" type="pres">
      <dgm:prSet presAssocID="{4A87CAA9-C1FA-40BD-B4D1-9D10F359EC03}" presName="compositeB" presStyleCnt="0"/>
      <dgm:spPr/>
    </dgm:pt>
    <dgm:pt modelId="{C1116DCA-2D84-4EF3-8381-5585CE013E1F}" type="pres">
      <dgm:prSet presAssocID="{4A87CAA9-C1FA-40BD-B4D1-9D10F359EC03}" presName="textB" presStyleLbl="revTx" presStyleIdx="1" presStyleCnt="3">
        <dgm:presLayoutVars>
          <dgm:bulletEnabled val="1"/>
        </dgm:presLayoutVars>
      </dgm:prSet>
      <dgm:spPr/>
    </dgm:pt>
    <dgm:pt modelId="{EA18E1EE-EBF9-43CB-80DD-ADAE9160E61F}" type="pres">
      <dgm:prSet presAssocID="{4A87CAA9-C1FA-40BD-B4D1-9D10F359EC03}" presName="circleB" presStyleLbl="node1" presStyleIdx="1" presStyleCnt="3"/>
      <dgm:spPr/>
    </dgm:pt>
    <dgm:pt modelId="{C722304E-F569-4DE9-981C-49793A1A42E5}" type="pres">
      <dgm:prSet presAssocID="{4A87CAA9-C1FA-40BD-B4D1-9D10F359EC03}" presName="spaceB" presStyleCnt="0"/>
      <dgm:spPr/>
    </dgm:pt>
    <dgm:pt modelId="{3EF74426-E49F-4D82-B497-B29E7C5B10AF}" type="pres">
      <dgm:prSet presAssocID="{0353A7D9-C652-46E6-B6A2-82951D2EE025}" presName="space" presStyleCnt="0"/>
      <dgm:spPr/>
    </dgm:pt>
    <dgm:pt modelId="{B14A1C26-449E-42A8-843A-8578C5E339FC}" type="pres">
      <dgm:prSet presAssocID="{F2A6021D-CF53-4921-8ED4-ADE4071B3E9F}" presName="compositeA" presStyleCnt="0"/>
      <dgm:spPr/>
    </dgm:pt>
    <dgm:pt modelId="{B8608C69-B289-4BD9-8239-ED5D0FA38110}" type="pres">
      <dgm:prSet presAssocID="{F2A6021D-CF53-4921-8ED4-ADE4071B3E9F}" presName="textA" presStyleLbl="revTx" presStyleIdx="2" presStyleCnt="3">
        <dgm:presLayoutVars>
          <dgm:bulletEnabled val="1"/>
        </dgm:presLayoutVars>
      </dgm:prSet>
      <dgm:spPr/>
    </dgm:pt>
    <dgm:pt modelId="{EAEC2216-9875-4B32-AA40-F474537C201E}" type="pres">
      <dgm:prSet presAssocID="{F2A6021D-CF53-4921-8ED4-ADE4071B3E9F}" presName="circleA" presStyleLbl="node1" presStyleIdx="2" presStyleCnt="3"/>
      <dgm:spPr/>
    </dgm:pt>
    <dgm:pt modelId="{42C1ABC4-DDB6-475B-955F-D858654534B4}" type="pres">
      <dgm:prSet presAssocID="{F2A6021D-CF53-4921-8ED4-ADE4071B3E9F}" presName="spaceA" presStyleCnt="0"/>
      <dgm:spPr/>
    </dgm:pt>
  </dgm:ptLst>
  <dgm:cxnLst>
    <dgm:cxn modelId="{D9B96E2B-78FE-4B9E-8559-93C5A0CB0BAA}" type="presOf" srcId="{E89DD9AA-CA08-48AD-B2EE-783588E5170F}" destId="{C0F47237-BAAD-4B3D-BB4F-614A33F0259C}" srcOrd="0" destOrd="0" presId="urn:microsoft.com/office/officeart/2005/8/layout/hProcess11"/>
    <dgm:cxn modelId="{D3887941-1FB1-4DCA-9D9E-71DD865A3FE4}" srcId="{E89DD9AA-CA08-48AD-B2EE-783588E5170F}" destId="{4A87CAA9-C1FA-40BD-B4D1-9D10F359EC03}" srcOrd="1" destOrd="0" parTransId="{1B9FC0D5-6DF6-4D92-9CB0-8894112DD39A}" sibTransId="{0353A7D9-C652-46E6-B6A2-82951D2EE025}"/>
    <dgm:cxn modelId="{46D4B16B-1A00-4F96-9E9C-D2181823A600}" type="presOf" srcId="{7903CBFD-FA45-49A2-A8D0-969D0C7C4DC4}" destId="{21CFE2A4-A4B3-412E-9C13-ED8270D7EBF1}" srcOrd="0" destOrd="0" presId="urn:microsoft.com/office/officeart/2005/8/layout/hProcess11"/>
    <dgm:cxn modelId="{EC9FCE4C-884B-4E11-817C-5C3104C055BB}" srcId="{E89DD9AA-CA08-48AD-B2EE-783588E5170F}" destId="{F2A6021D-CF53-4921-8ED4-ADE4071B3E9F}" srcOrd="2" destOrd="0" parTransId="{FC645FC2-CE90-4ECE-BC86-F3DC57ADEF93}" sibTransId="{BB789CC4-57B5-4C1D-B2D5-67ED788B2EE3}"/>
    <dgm:cxn modelId="{613A30A9-C544-4036-9622-0C8599B29346}" srcId="{E89DD9AA-CA08-48AD-B2EE-783588E5170F}" destId="{7903CBFD-FA45-49A2-A8D0-969D0C7C4DC4}" srcOrd="0" destOrd="0" parTransId="{D1BE0259-383E-483A-8349-EBC99C38ED6E}" sibTransId="{CF2A52A4-7A84-4E18-A676-10336734F69D}"/>
    <dgm:cxn modelId="{AC1FFEAA-DFAA-4FBE-ABC6-DDAD4F38982B}" type="presOf" srcId="{4A87CAA9-C1FA-40BD-B4D1-9D10F359EC03}" destId="{C1116DCA-2D84-4EF3-8381-5585CE013E1F}" srcOrd="0" destOrd="0" presId="urn:microsoft.com/office/officeart/2005/8/layout/hProcess11"/>
    <dgm:cxn modelId="{23C81EED-045A-47AA-AABD-39894BBCF047}" type="presOf" srcId="{F2A6021D-CF53-4921-8ED4-ADE4071B3E9F}" destId="{B8608C69-B289-4BD9-8239-ED5D0FA38110}" srcOrd="0" destOrd="0" presId="urn:microsoft.com/office/officeart/2005/8/layout/hProcess11"/>
    <dgm:cxn modelId="{01E2AE1B-8D4D-46F9-A36B-80EE994B6D89}" type="presParOf" srcId="{C0F47237-BAAD-4B3D-BB4F-614A33F0259C}" destId="{412BF510-8C8C-4924-865C-63FC04E0C5E0}" srcOrd="0" destOrd="0" presId="urn:microsoft.com/office/officeart/2005/8/layout/hProcess11"/>
    <dgm:cxn modelId="{EA4BFF11-1575-494D-9D20-2FA05E40EC95}" type="presParOf" srcId="{C0F47237-BAAD-4B3D-BB4F-614A33F0259C}" destId="{3250C92D-4BFA-4375-972C-3070A24773B0}" srcOrd="1" destOrd="0" presId="urn:microsoft.com/office/officeart/2005/8/layout/hProcess11"/>
    <dgm:cxn modelId="{FE637B73-3A1C-46E5-BD44-4529DDAD54AD}" type="presParOf" srcId="{3250C92D-4BFA-4375-972C-3070A24773B0}" destId="{5E9BA4FD-095E-4DDB-B3D6-E14CD9E30A17}" srcOrd="0" destOrd="0" presId="urn:microsoft.com/office/officeart/2005/8/layout/hProcess11"/>
    <dgm:cxn modelId="{429CE404-5FE5-4DFD-9DDD-179ECB6FF65E}" type="presParOf" srcId="{5E9BA4FD-095E-4DDB-B3D6-E14CD9E30A17}" destId="{21CFE2A4-A4B3-412E-9C13-ED8270D7EBF1}" srcOrd="0" destOrd="0" presId="urn:microsoft.com/office/officeart/2005/8/layout/hProcess11"/>
    <dgm:cxn modelId="{FD53A6AE-6358-467D-AB80-F9A30DAF8F3D}" type="presParOf" srcId="{5E9BA4FD-095E-4DDB-B3D6-E14CD9E30A17}" destId="{469C6E21-3083-47C6-B7F6-4070C5F3F38B}" srcOrd="1" destOrd="0" presId="urn:microsoft.com/office/officeart/2005/8/layout/hProcess11"/>
    <dgm:cxn modelId="{7094C59B-932C-4568-9AF9-D7236A8F351E}" type="presParOf" srcId="{5E9BA4FD-095E-4DDB-B3D6-E14CD9E30A17}" destId="{0EF9FCB5-9780-45DA-B539-98FC37E953C7}" srcOrd="2" destOrd="0" presId="urn:microsoft.com/office/officeart/2005/8/layout/hProcess11"/>
    <dgm:cxn modelId="{A042E77A-0827-472B-B206-737D08A07DF8}" type="presParOf" srcId="{3250C92D-4BFA-4375-972C-3070A24773B0}" destId="{7FF13929-68DF-4091-88A7-862135B04FFC}" srcOrd="1" destOrd="0" presId="urn:microsoft.com/office/officeart/2005/8/layout/hProcess11"/>
    <dgm:cxn modelId="{7DFC16CC-861E-4D46-B92A-559A01F0B22A}" type="presParOf" srcId="{3250C92D-4BFA-4375-972C-3070A24773B0}" destId="{09E2CB78-91CD-4CDD-AF1E-1DA2F2A057E0}" srcOrd="2" destOrd="0" presId="urn:microsoft.com/office/officeart/2005/8/layout/hProcess11"/>
    <dgm:cxn modelId="{643FA367-4918-4BD6-8C0B-BE9F9AEC1E13}" type="presParOf" srcId="{09E2CB78-91CD-4CDD-AF1E-1DA2F2A057E0}" destId="{C1116DCA-2D84-4EF3-8381-5585CE013E1F}" srcOrd="0" destOrd="0" presId="urn:microsoft.com/office/officeart/2005/8/layout/hProcess11"/>
    <dgm:cxn modelId="{8FBBC1E3-C232-46A1-8A5A-3298724291CE}" type="presParOf" srcId="{09E2CB78-91CD-4CDD-AF1E-1DA2F2A057E0}" destId="{EA18E1EE-EBF9-43CB-80DD-ADAE9160E61F}" srcOrd="1" destOrd="0" presId="urn:microsoft.com/office/officeart/2005/8/layout/hProcess11"/>
    <dgm:cxn modelId="{1EFD60B7-6F04-4247-B7B0-3DE39F52A114}" type="presParOf" srcId="{09E2CB78-91CD-4CDD-AF1E-1DA2F2A057E0}" destId="{C722304E-F569-4DE9-981C-49793A1A42E5}" srcOrd="2" destOrd="0" presId="urn:microsoft.com/office/officeart/2005/8/layout/hProcess11"/>
    <dgm:cxn modelId="{30A5C8F5-303C-485A-9AE2-3513F953B702}" type="presParOf" srcId="{3250C92D-4BFA-4375-972C-3070A24773B0}" destId="{3EF74426-E49F-4D82-B497-B29E7C5B10AF}" srcOrd="3" destOrd="0" presId="urn:microsoft.com/office/officeart/2005/8/layout/hProcess11"/>
    <dgm:cxn modelId="{2F932738-BA09-4EDF-962D-D53EB1320062}" type="presParOf" srcId="{3250C92D-4BFA-4375-972C-3070A24773B0}" destId="{B14A1C26-449E-42A8-843A-8578C5E339FC}" srcOrd="4" destOrd="0" presId="urn:microsoft.com/office/officeart/2005/8/layout/hProcess11"/>
    <dgm:cxn modelId="{023850BB-8272-4ABB-B118-63C299EB01CE}" type="presParOf" srcId="{B14A1C26-449E-42A8-843A-8578C5E339FC}" destId="{B8608C69-B289-4BD9-8239-ED5D0FA38110}" srcOrd="0" destOrd="0" presId="urn:microsoft.com/office/officeart/2005/8/layout/hProcess11"/>
    <dgm:cxn modelId="{8EB97E54-3C6B-4A53-A21E-4046E5AE39DA}" type="presParOf" srcId="{B14A1C26-449E-42A8-843A-8578C5E339FC}" destId="{EAEC2216-9875-4B32-AA40-F474537C201E}" srcOrd="1" destOrd="0" presId="urn:microsoft.com/office/officeart/2005/8/layout/hProcess11"/>
    <dgm:cxn modelId="{C21D7C0C-1E42-4A4A-9BAD-57BF8D992435}" type="presParOf" srcId="{B14A1C26-449E-42A8-843A-8578C5E339FC}" destId="{42C1ABC4-DDB6-475B-955F-D858654534B4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4A0EC25-B6DF-4901-A17C-4D4589B951CD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E121F1CA-800C-4340-9313-2169085FF243}">
      <dgm:prSet custT="1"/>
      <dgm:spPr/>
      <dgm:t>
        <a:bodyPr/>
        <a:lstStyle/>
        <a:p>
          <a:r>
            <a:rPr lang="sv-SE" sz="1600" dirty="0"/>
            <a:t>Vårdgivare – rengöring, desinfektion och sterilisering av utrustning</a:t>
          </a:r>
        </a:p>
      </dgm:t>
    </dgm:pt>
    <dgm:pt modelId="{C813437D-DD2C-4E44-8F2C-1E10ED09A327}" type="parTrans" cxnId="{8DAE11D4-BB8D-4B74-AE3A-A0B0A49D7A5D}">
      <dgm:prSet/>
      <dgm:spPr/>
      <dgm:t>
        <a:bodyPr/>
        <a:lstStyle/>
        <a:p>
          <a:endParaRPr lang="sv-SE"/>
        </a:p>
      </dgm:t>
    </dgm:pt>
    <dgm:pt modelId="{C4DDCB03-5894-452A-98E4-2D2B8E4EE1ED}" type="sibTrans" cxnId="{8DAE11D4-BB8D-4B74-AE3A-A0B0A49D7A5D}">
      <dgm:prSet/>
      <dgm:spPr/>
      <dgm:t>
        <a:bodyPr/>
        <a:lstStyle/>
        <a:p>
          <a:endParaRPr lang="sv-SE"/>
        </a:p>
      </dgm:t>
    </dgm:pt>
    <dgm:pt modelId="{15F58C38-5DCC-468A-8BF5-F8DD5BCC7AAB}">
      <dgm:prSet custT="1"/>
      <dgm:spPr/>
      <dgm:t>
        <a:bodyPr/>
        <a:lstStyle/>
        <a:p>
          <a:r>
            <a:rPr lang="sv-SE" sz="1600" dirty="0"/>
            <a:t>Vårdgivare – städning, avfall</a:t>
          </a:r>
        </a:p>
      </dgm:t>
    </dgm:pt>
    <dgm:pt modelId="{1283B750-9C41-43D5-9185-7071549C960E}" type="parTrans" cxnId="{EC1B5EE6-89A9-4744-8664-52018A1915BF}">
      <dgm:prSet/>
      <dgm:spPr/>
      <dgm:t>
        <a:bodyPr/>
        <a:lstStyle/>
        <a:p>
          <a:endParaRPr lang="sv-SE"/>
        </a:p>
      </dgm:t>
    </dgm:pt>
    <dgm:pt modelId="{B9CC03D8-A44C-4FF5-8521-5FC4BC0B3E4D}" type="sibTrans" cxnId="{EC1B5EE6-89A9-4744-8664-52018A1915BF}">
      <dgm:prSet/>
      <dgm:spPr/>
      <dgm:t>
        <a:bodyPr/>
        <a:lstStyle/>
        <a:p>
          <a:endParaRPr lang="sv-SE"/>
        </a:p>
      </dgm:t>
    </dgm:pt>
    <dgm:pt modelId="{58E4E79A-4AB3-4002-BA4B-36E8D04B73B1}">
      <dgm:prSet custT="1"/>
      <dgm:spPr/>
      <dgm:t>
        <a:bodyPr/>
        <a:lstStyle/>
        <a:p>
          <a:r>
            <a:rPr lang="sv-SE" sz="1600" dirty="0"/>
            <a:t>Verksamhetschef – förutsättningar att följa föreskrift om Basal Hygien</a:t>
          </a:r>
        </a:p>
      </dgm:t>
    </dgm:pt>
    <dgm:pt modelId="{A87F5619-8863-4153-83FF-974D3A878370}" type="parTrans" cxnId="{06DB4E19-1BEB-48EE-A5D3-4A83D3C6AAE8}">
      <dgm:prSet/>
      <dgm:spPr/>
      <dgm:t>
        <a:bodyPr/>
        <a:lstStyle/>
        <a:p>
          <a:endParaRPr lang="sv-SE"/>
        </a:p>
      </dgm:t>
    </dgm:pt>
    <dgm:pt modelId="{3D4029B8-19D7-464E-8596-9EBA26E9D343}" type="sibTrans" cxnId="{06DB4E19-1BEB-48EE-A5D3-4A83D3C6AAE8}">
      <dgm:prSet/>
      <dgm:spPr/>
      <dgm:t>
        <a:bodyPr/>
        <a:lstStyle/>
        <a:p>
          <a:endParaRPr lang="sv-SE"/>
        </a:p>
      </dgm:t>
    </dgm:pt>
    <dgm:pt modelId="{76177B57-24BC-4AF4-B10A-8500859A5755}">
      <dgm:prSet custT="1"/>
      <dgm:spPr/>
      <dgm:t>
        <a:bodyPr/>
        <a:lstStyle/>
        <a:p>
          <a:r>
            <a:rPr lang="sv-SE" sz="1600" dirty="0"/>
            <a:t>Vårdgivare – vattenförsörjning säkras</a:t>
          </a:r>
        </a:p>
      </dgm:t>
    </dgm:pt>
    <dgm:pt modelId="{6C25EBA0-B12A-4BB0-ACD0-949FE85C592A}" type="sibTrans" cxnId="{92DC32B5-FB44-49FB-9092-21DC6C790D3E}">
      <dgm:prSet/>
      <dgm:spPr/>
      <dgm:t>
        <a:bodyPr/>
        <a:lstStyle/>
        <a:p>
          <a:endParaRPr lang="sv-SE"/>
        </a:p>
      </dgm:t>
    </dgm:pt>
    <dgm:pt modelId="{7B017F43-E09B-4428-B3C8-553066DD97E4}" type="parTrans" cxnId="{92DC32B5-FB44-49FB-9092-21DC6C790D3E}">
      <dgm:prSet/>
      <dgm:spPr/>
      <dgm:t>
        <a:bodyPr/>
        <a:lstStyle/>
        <a:p>
          <a:endParaRPr lang="sv-SE"/>
        </a:p>
      </dgm:t>
    </dgm:pt>
    <dgm:pt modelId="{0BCEB5D7-E3A5-413F-8D5F-88BFC1FA3594}">
      <dgm:prSet custT="1"/>
      <dgm:spPr/>
      <dgm:t>
        <a:bodyPr/>
        <a:lstStyle/>
        <a:p>
          <a:r>
            <a:rPr lang="sv-SE" sz="1600" dirty="0"/>
            <a:t>Vårdgivare – vård, omsorg bedrivs i lokaler anpassade till hygienkrav</a:t>
          </a:r>
        </a:p>
      </dgm:t>
    </dgm:pt>
    <dgm:pt modelId="{E7CBBDB2-E88A-4BF6-B2A8-2D0E24A485EC}" type="sibTrans" cxnId="{A0300E33-DE83-49C7-A1AA-C2103AF6DCAA}">
      <dgm:prSet/>
      <dgm:spPr/>
      <dgm:t>
        <a:bodyPr/>
        <a:lstStyle/>
        <a:p>
          <a:endParaRPr lang="sv-SE"/>
        </a:p>
      </dgm:t>
    </dgm:pt>
    <dgm:pt modelId="{E62CEBC5-8341-4960-B540-85AF1BDC019F}" type="parTrans" cxnId="{A0300E33-DE83-49C7-A1AA-C2103AF6DCAA}">
      <dgm:prSet/>
      <dgm:spPr/>
      <dgm:t>
        <a:bodyPr/>
        <a:lstStyle/>
        <a:p>
          <a:endParaRPr lang="sv-SE"/>
        </a:p>
      </dgm:t>
    </dgm:pt>
    <dgm:pt modelId="{176C912C-7E5C-4BA9-9649-804059490C64}" type="pres">
      <dgm:prSet presAssocID="{F4A0EC25-B6DF-4901-A17C-4D4589B951CD}" presName="Name0" presStyleCnt="0">
        <dgm:presLayoutVars>
          <dgm:dir/>
          <dgm:resizeHandles val="exact"/>
        </dgm:presLayoutVars>
      </dgm:prSet>
      <dgm:spPr/>
    </dgm:pt>
    <dgm:pt modelId="{54EB7BA7-7B8F-485D-A70C-E6F7464D6D20}" type="pres">
      <dgm:prSet presAssocID="{F4A0EC25-B6DF-4901-A17C-4D4589B951CD}" presName="arrow" presStyleLbl="bgShp" presStyleIdx="0" presStyleCnt="1"/>
      <dgm:spPr/>
    </dgm:pt>
    <dgm:pt modelId="{ED8CAE9C-C889-4885-8150-B4F2AEDEF6AE}" type="pres">
      <dgm:prSet presAssocID="{F4A0EC25-B6DF-4901-A17C-4D4589B951CD}" presName="points" presStyleCnt="0"/>
      <dgm:spPr/>
    </dgm:pt>
    <dgm:pt modelId="{905592BD-B71D-42FF-9AD8-57BECE7D6E85}" type="pres">
      <dgm:prSet presAssocID="{0BCEB5D7-E3A5-413F-8D5F-88BFC1FA3594}" presName="compositeA" presStyleCnt="0"/>
      <dgm:spPr/>
    </dgm:pt>
    <dgm:pt modelId="{5F70C6EA-5B85-44E4-8C0D-C167408A0C75}" type="pres">
      <dgm:prSet presAssocID="{0BCEB5D7-E3A5-413F-8D5F-88BFC1FA3594}" presName="textA" presStyleLbl="revTx" presStyleIdx="0" presStyleCnt="5" custScaleX="436732">
        <dgm:presLayoutVars>
          <dgm:bulletEnabled val="1"/>
        </dgm:presLayoutVars>
      </dgm:prSet>
      <dgm:spPr/>
    </dgm:pt>
    <dgm:pt modelId="{946CDBF2-0EE3-4856-99B1-ACA1FDB77AFF}" type="pres">
      <dgm:prSet presAssocID="{0BCEB5D7-E3A5-413F-8D5F-88BFC1FA3594}" presName="circleA" presStyleLbl="node1" presStyleIdx="0" presStyleCnt="5"/>
      <dgm:spPr/>
    </dgm:pt>
    <dgm:pt modelId="{45DF0643-49F0-4488-970A-198287E8D3F5}" type="pres">
      <dgm:prSet presAssocID="{0BCEB5D7-E3A5-413F-8D5F-88BFC1FA3594}" presName="spaceA" presStyleCnt="0"/>
      <dgm:spPr/>
    </dgm:pt>
    <dgm:pt modelId="{D29A171F-1B33-4967-8CE6-AD8EFCC5FBDB}" type="pres">
      <dgm:prSet presAssocID="{E7CBBDB2-E88A-4BF6-B2A8-2D0E24A485EC}" presName="space" presStyleCnt="0"/>
      <dgm:spPr/>
    </dgm:pt>
    <dgm:pt modelId="{739F643C-DA3D-49D9-981F-28A0F66A8F3D}" type="pres">
      <dgm:prSet presAssocID="{76177B57-24BC-4AF4-B10A-8500859A5755}" presName="compositeB" presStyleCnt="0"/>
      <dgm:spPr/>
    </dgm:pt>
    <dgm:pt modelId="{962FC76B-15E4-4AE1-AEBA-5E29AD2BDB3C}" type="pres">
      <dgm:prSet presAssocID="{76177B57-24BC-4AF4-B10A-8500859A5755}" presName="textB" presStyleLbl="revTx" presStyleIdx="1" presStyleCnt="5" custScaleX="543201">
        <dgm:presLayoutVars>
          <dgm:bulletEnabled val="1"/>
        </dgm:presLayoutVars>
      </dgm:prSet>
      <dgm:spPr/>
    </dgm:pt>
    <dgm:pt modelId="{E4B3E6C6-93E5-4FFD-BE20-BE07EEFE2067}" type="pres">
      <dgm:prSet presAssocID="{76177B57-24BC-4AF4-B10A-8500859A5755}" presName="circleB" presStyleLbl="node1" presStyleIdx="1" presStyleCnt="5"/>
      <dgm:spPr/>
    </dgm:pt>
    <dgm:pt modelId="{93E6980D-1170-4668-883D-876371CC0509}" type="pres">
      <dgm:prSet presAssocID="{76177B57-24BC-4AF4-B10A-8500859A5755}" presName="spaceB" presStyleCnt="0"/>
      <dgm:spPr/>
    </dgm:pt>
    <dgm:pt modelId="{FB5426C8-5E4E-4A12-B635-DFB6EAD4305C}" type="pres">
      <dgm:prSet presAssocID="{6C25EBA0-B12A-4BB0-ACD0-949FE85C592A}" presName="space" presStyleCnt="0"/>
      <dgm:spPr/>
    </dgm:pt>
    <dgm:pt modelId="{CFE56972-B2B6-47B9-8CAF-BC312EE47869}" type="pres">
      <dgm:prSet presAssocID="{E121F1CA-800C-4340-9313-2169085FF243}" presName="compositeA" presStyleCnt="0"/>
      <dgm:spPr/>
    </dgm:pt>
    <dgm:pt modelId="{3FB7926A-78A8-4D03-88DC-A014F98CEB15}" type="pres">
      <dgm:prSet presAssocID="{E121F1CA-800C-4340-9313-2169085FF243}" presName="textA" presStyleLbl="revTx" presStyleIdx="2" presStyleCnt="5" custScaleX="443886">
        <dgm:presLayoutVars>
          <dgm:bulletEnabled val="1"/>
        </dgm:presLayoutVars>
      </dgm:prSet>
      <dgm:spPr/>
    </dgm:pt>
    <dgm:pt modelId="{21C2E84C-A6F6-4FE2-AEDF-3FB3C60FED7C}" type="pres">
      <dgm:prSet presAssocID="{E121F1CA-800C-4340-9313-2169085FF243}" presName="circleA" presStyleLbl="node1" presStyleIdx="2" presStyleCnt="5"/>
      <dgm:spPr/>
    </dgm:pt>
    <dgm:pt modelId="{BCA373A2-F482-4BA7-A7A3-1AA64A749E77}" type="pres">
      <dgm:prSet presAssocID="{E121F1CA-800C-4340-9313-2169085FF243}" presName="spaceA" presStyleCnt="0"/>
      <dgm:spPr/>
    </dgm:pt>
    <dgm:pt modelId="{0ED529CA-0823-4478-A06E-55CE5E7D7C41}" type="pres">
      <dgm:prSet presAssocID="{C4DDCB03-5894-452A-98E4-2D2B8E4EE1ED}" presName="space" presStyleCnt="0"/>
      <dgm:spPr/>
    </dgm:pt>
    <dgm:pt modelId="{A512BDA4-14AA-431A-AAFB-DD53C375EF12}" type="pres">
      <dgm:prSet presAssocID="{15F58C38-5DCC-468A-8BF5-F8DD5BCC7AAB}" presName="compositeB" presStyleCnt="0"/>
      <dgm:spPr/>
    </dgm:pt>
    <dgm:pt modelId="{E86958F0-1F36-4CF4-A816-78503D7503EF}" type="pres">
      <dgm:prSet presAssocID="{15F58C38-5DCC-468A-8BF5-F8DD5BCC7AAB}" presName="textB" presStyleLbl="revTx" presStyleIdx="3" presStyleCnt="5" custScaleX="495985">
        <dgm:presLayoutVars>
          <dgm:bulletEnabled val="1"/>
        </dgm:presLayoutVars>
      </dgm:prSet>
      <dgm:spPr/>
    </dgm:pt>
    <dgm:pt modelId="{8B5655EC-DEC4-4D93-9C90-597C8E84D3D5}" type="pres">
      <dgm:prSet presAssocID="{15F58C38-5DCC-468A-8BF5-F8DD5BCC7AAB}" presName="circleB" presStyleLbl="node1" presStyleIdx="3" presStyleCnt="5"/>
      <dgm:spPr/>
    </dgm:pt>
    <dgm:pt modelId="{CB50FE2F-5506-4A82-96B0-F3E9DFDB2616}" type="pres">
      <dgm:prSet presAssocID="{15F58C38-5DCC-468A-8BF5-F8DD5BCC7AAB}" presName="spaceB" presStyleCnt="0"/>
      <dgm:spPr/>
    </dgm:pt>
    <dgm:pt modelId="{4E48636C-3A3B-4CF6-9BCA-120FDE7715AD}" type="pres">
      <dgm:prSet presAssocID="{B9CC03D8-A44C-4FF5-8521-5FC4BC0B3E4D}" presName="space" presStyleCnt="0"/>
      <dgm:spPr/>
    </dgm:pt>
    <dgm:pt modelId="{F0AF3D77-8D61-4472-8F84-3610CEF53D4B}" type="pres">
      <dgm:prSet presAssocID="{58E4E79A-4AB3-4002-BA4B-36E8D04B73B1}" presName="compositeA" presStyleCnt="0"/>
      <dgm:spPr/>
    </dgm:pt>
    <dgm:pt modelId="{DCB6AD85-945E-4973-8A16-CA3175C53E2C}" type="pres">
      <dgm:prSet presAssocID="{58E4E79A-4AB3-4002-BA4B-36E8D04B73B1}" presName="textA" presStyleLbl="revTx" presStyleIdx="4" presStyleCnt="5" custScaleX="529235">
        <dgm:presLayoutVars>
          <dgm:bulletEnabled val="1"/>
        </dgm:presLayoutVars>
      </dgm:prSet>
      <dgm:spPr/>
    </dgm:pt>
    <dgm:pt modelId="{406827F4-837C-404D-9F9D-D2460B34FCBC}" type="pres">
      <dgm:prSet presAssocID="{58E4E79A-4AB3-4002-BA4B-36E8D04B73B1}" presName="circleA" presStyleLbl="node1" presStyleIdx="4" presStyleCnt="5"/>
      <dgm:spPr/>
    </dgm:pt>
    <dgm:pt modelId="{350D42DF-644A-42DC-87FB-43E650A56611}" type="pres">
      <dgm:prSet presAssocID="{58E4E79A-4AB3-4002-BA4B-36E8D04B73B1}" presName="spaceA" presStyleCnt="0"/>
      <dgm:spPr/>
    </dgm:pt>
  </dgm:ptLst>
  <dgm:cxnLst>
    <dgm:cxn modelId="{9DA0B216-9C91-49D3-8833-8FA185113D8B}" type="presOf" srcId="{E121F1CA-800C-4340-9313-2169085FF243}" destId="{3FB7926A-78A8-4D03-88DC-A014F98CEB15}" srcOrd="0" destOrd="0" presId="urn:microsoft.com/office/officeart/2005/8/layout/hProcess11"/>
    <dgm:cxn modelId="{06DB4E19-1BEB-48EE-A5D3-4A83D3C6AAE8}" srcId="{F4A0EC25-B6DF-4901-A17C-4D4589B951CD}" destId="{58E4E79A-4AB3-4002-BA4B-36E8D04B73B1}" srcOrd="4" destOrd="0" parTransId="{A87F5619-8863-4153-83FF-974D3A878370}" sibTransId="{3D4029B8-19D7-464E-8596-9EBA26E9D343}"/>
    <dgm:cxn modelId="{7ABA8E2C-90E4-4A4D-BA55-7F4F15BEB679}" type="presOf" srcId="{15F58C38-5DCC-468A-8BF5-F8DD5BCC7AAB}" destId="{E86958F0-1F36-4CF4-A816-78503D7503EF}" srcOrd="0" destOrd="0" presId="urn:microsoft.com/office/officeart/2005/8/layout/hProcess11"/>
    <dgm:cxn modelId="{A0300E33-DE83-49C7-A1AA-C2103AF6DCAA}" srcId="{F4A0EC25-B6DF-4901-A17C-4D4589B951CD}" destId="{0BCEB5D7-E3A5-413F-8D5F-88BFC1FA3594}" srcOrd="0" destOrd="0" parTransId="{E62CEBC5-8341-4960-B540-85AF1BDC019F}" sibTransId="{E7CBBDB2-E88A-4BF6-B2A8-2D0E24A485EC}"/>
    <dgm:cxn modelId="{30C5C15C-0CAB-4A91-BFDF-EFE49F0DF8F8}" type="presOf" srcId="{0BCEB5D7-E3A5-413F-8D5F-88BFC1FA3594}" destId="{5F70C6EA-5B85-44E4-8C0D-C167408A0C75}" srcOrd="0" destOrd="0" presId="urn:microsoft.com/office/officeart/2005/8/layout/hProcess11"/>
    <dgm:cxn modelId="{729D9948-1199-48A7-B69A-47111C1C1E37}" type="presOf" srcId="{F4A0EC25-B6DF-4901-A17C-4D4589B951CD}" destId="{176C912C-7E5C-4BA9-9649-804059490C64}" srcOrd="0" destOrd="0" presId="urn:microsoft.com/office/officeart/2005/8/layout/hProcess11"/>
    <dgm:cxn modelId="{FFE6B588-EA93-4FB2-820C-E8009CA22941}" type="presOf" srcId="{76177B57-24BC-4AF4-B10A-8500859A5755}" destId="{962FC76B-15E4-4AE1-AEBA-5E29AD2BDB3C}" srcOrd="0" destOrd="0" presId="urn:microsoft.com/office/officeart/2005/8/layout/hProcess11"/>
    <dgm:cxn modelId="{92DC32B5-FB44-49FB-9092-21DC6C790D3E}" srcId="{F4A0EC25-B6DF-4901-A17C-4D4589B951CD}" destId="{76177B57-24BC-4AF4-B10A-8500859A5755}" srcOrd="1" destOrd="0" parTransId="{7B017F43-E09B-4428-B3C8-553066DD97E4}" sibTransId="{6C25EBA0-B12A-4BB0-ACD0-949FE85C592A}"/>
    <dgm:cxn modelId="{C724C9C8-AEAC-4BD0-BC0A-762041F8EA53}" type="presOf" srcId="{58E4E79A-4AB3-4002-BA4B-36E8D04B73B1}" destId="{DCB6AD85-945E-4973-8A16-CA3175C53E2C}" srcOrd="0" destOrd="0" presId="urn:microsoft.com/office/officeart/2005/8/layout/hProcess11"/>
    <dgm:cxn modelId="{8DAE11D4-BB8D-4B74-AE3A-A0B0A49D7A5D}" srcId="{F4A0EC25-B6DF-4901-A17C-4D4589B951CD}" destId="{E121F1CA-800C-4340-9313-2169085FF243}" srcOrd="2" destOrd="0" parTransId="{C813437D-DD2C-4E44-8F2C-1E10ED09A327}" sibTransId="{C4DDCB03-5894-452A-98E4-2D2B8E4EE1ED}"/>
    <dgm:cxn modelId="{EC1B5EE6-89A9-4744-8664-52018A1915BF}" srcId="{F4A0EC25-B6DF-4901-A17C-4D4589B951CD}" destId="{15F58C38-5DCC-468A-8BF5-F8DD5BCC7AAB}" srcOrd="3" destOrd="0" parTransId="{1283B750-9C41-43D5-9185-7071549C960E}" sibTransId="{B9CC03D8-A44C-4FF5-8521-5FC4BC0B3E4D}"/>
    <dgm:cxn modelId="{C66CC797-9B38-43AA-A61F-143B11998F00}" type="presParOf" srcId="{176C912C-7E5C-4BA9-9649-804059490C64}" destId="{54EB7BA7-7B8F-485D-A70C-E6F7464D6D20}" srcOrd="0" destOrd="0" presId="urn:microsoft.com/office/officeart/2005/8/layout/hProcess11"/>
    <dgm:cxn modelId="{0E733DED-9469-44DD-B8DF-4C6F0E1955E3}" type="presParOf" srcId="{176C912C-7E5C-4BA9-9649-804059490C64}" destId="{ED8CAE9C-C889-4885-8150-B4F2AEDEF6AE}" srcOrd="1" destOrd="0" presId="urn:microsoft.com/office/officeart/2005/8/layout/hProcess11"/>
    <dgm:cxn modelId="{63C4FF4E-67E2-401C-9816-6AF4E1925ADB}" type="presParOf" srcId="{ED8CAE9C-C889-4885-8150-B4F2AEDEF6AE}" destId="{905592BD-B71D-42FF-9AD8-57BECE7D6E85}" srcOrd="0" destOrd="0" presId="urn:microsoft.com/office/officeart/2005/8/layout/hProcess11"/>
    <dgm:cxn modelId="{1DD5553C-AF69-4B40-8B1F-D2615884EE65}" type="presParOf" srcId="{905592BD-B71D-42FF-9AD8-57BECE7D6E85}" destId="{5F70C6EA-5B85-44E4-8C0D-C167408A0C75}" srcOrd="0" destOrd="0" presId="urn:microsoft.com/office/officeart/2005/8/layout/hProcess11"/>
    <dgm:cxn modelId="{5D33161A-00D6-4B0E-8C01-971F1419793B}" type="presParOf" srcId="{905592BD-B71D-42FF-9AD8-57BECE7D6E85}" destId="{946CDBF2-0EE3-4856-99B1-ACA1FDB77AFF}" srcOrd="1" destOrd="0" presId="urn:microsoft.com/office/officeart/2005/8/layout/hProcess11"/>
    <dgm:cxn modelId="{EAEF37B1-18F8-4E79-B765-052D1142AC06}" type="presParOf" srcId="{905592BD-B71D-42FF-9AD8-57BECE7D6E85}" destId="{45DF0643-49F0-4488-970A-198287E8D3F5}" srcOrd="2" destOrd="0" presId="urn:microsoft.com/office/officeart/2005/8/layout/hProcess11"/>
    <dgm:cxn modelId="{AD291A62-8974-4592-8796-079397F47B7E}" type="presParOf" srcId="{ED8CAE9C-C889-4885-8150-B4F2AEDEF6AE}" destId="{D29A171F-1B33-4967-8CE6-AD8EFCC5FBDB}" srcOrd="1" destOrd="0" presId="urn:microsoft.com/office/officeart/2005/8/layout/hProcess11"/>
    <dgm:cxn modelId="{6523F2C3-A4B0-4620-B811-37002A87DAC9}" type="presParOf" srcId="{ED8CAE9C-C889-4885-8150-B4F2AEDEF6AE}" destId="{739F643C-DA3D-49D9-981F-28A0F66A8F3D}" srcOrd="2" destOrd="0" presId="urn:microsoft.com/office/officeart/2005/8/layout/hProcess11"/>
    <dgm:cxn modelId="{36F3918E-0079-4F53-BB01-D2AB7A5BCA88}" type="presParOf" srcId="{739F643C-DA3D-49D9-981F-28A0F66A8F3D}" destId="{962FC76B-15E4-4AE1-AEBA-5E29AD2BDB3C}" srcOrd="0" destOrd="0" presId="urn:microsoft.com/office/officeart/2005/8/layout/hProcess11"/>
    <dgm:cxn modelId="{6FA1987E-4ED7-4AFF-81F3-E9C6BFDA750F}" type="presParOf" srcId="{739F643C-DA3D-49D9-981F-28A0F66A8F3D}" destId="{E4B3E6C6-93E5-4FFD-BE20-BE07EEFE2067}" srcOrd="1" destOrd="0" presId="urn:microsoft.com/office/officeart/2005/8/layout/hProcess11"/>
    <dgm:cxn modelId="{0A6B33C5-B5B0-4C38-BD1E-7C96707F5B14}" type="presParOf" srcId="{739F643C-DA3D-49D9-981F-28A0F66A8F3D}" destId="{93E6980D-1170-4668-883D-876371CC0509}" srcOrd="2" destOrd="0" presId="urn:microsoft.com/office/officeart/2005/8/layout/hProcess11"/>
    <dgm:cxn modelId="{EEADB5D8-AFB3-4D19-8F57-C4795CBC498E}" type="presParOf" srcId="{ED8CAE9C-C889-4885-8150-B4F2AEDEF6AE}" destId="{FB5426C8-5E4E-4A12-B635-DFB6EAD4305C}" srcOrd="3" destOrd="0" presId="urn:microsoft.com/office/officeart/2005/8/layout/hProcess11"/>
    <dgm:cxn modelId="{B96AD64A-71B5-40DA-8E6E-51A5B4C6FFD6}" type="presParOf" srcId="{ED8CAE9C-C889-4885-8150-B4F2AEDEF6AE}" destId="{CFE56972-B2B6-47B9-8CAF-BC312EE47869}" srcOrd="4" destOrd="0" presId="urn:microsoft.com/office/officeart/2005/8/layout/hProcess11"/>
    <dgm:cxn modelId="{CAA1773F-13FF-4D98-8559-BC5900C475FA}" type="presParOf" srcId="{CFE56972-B2B6-47B9-8CAF-BC312EE47869}" destId="{3FB7926A-78A8-4D03-88DC-A014F98CEB15}" srcOrd="0" destOrd="0" presId="urn:microsoft.com/office/officeart/2005/8/layout/hProcess11"/>
    <dgm:cxn modelId="{61A4BFB1-058A-436A-84E2-4E433C3CD3D6}" type="presParOf" srcId="{CFE56972-B2B6-47B9-8CAF-BC312EE47869}" destId="{21C2E84C-A6F6-4FE2-AEDF-3FB3C60FED7C}" srcOrd="1" destOrd="0" presId="urn:microsoft.com/office/officeart/2005/8/layout/hProcess11"/>
    <dgm:cxn modelId="{FB90B964-844C-4641-AA4B-28B1588CF942}" type="presParOf" srcId="{CFE56972-B2B6-47B9-8CAF-BC312EE47869}" destId="{BCA373A2-F482-4BA7-A7A3-1AA64A749E77}" srcOrd="2" destOrd="0" presId="urn:microsoft.com/office/officeart/2005/8/layout/hProcess11"/>
    <dgm:cxn modelId="{1FEB84FD-4472-42D0-81D0-15E37D709237}" type="presParOf" srcId="{ED8CAE9C-C889-4885-8150-B4F2AEDEF6AE}" destId="{0ED529CA-0823-4478-A06E-55CE5E7D7C41}" srcOrd="5" destOrd="0" presId="urn:microsoft.com/office/officeart/2005/8/layout/hProcess11"/>
    <dgm:cxn modelId="{CCE65440-4064-4808-83C1-6E011DE196F8}" type="presParOf" srcId="{ED8CAE9C-C889-4885-8150-B4F2AEDEF6AE}" destId="{A512BDA4-14AA-431A-AAFB-DD53C375EF12}" srcOrd="6" destOrd="0" presId="urn:microsoft.com/office/officeart/2005/8/layout/hProcess11"/>
    <dgm:cxn modelId="{2BDA0769-BA10-4159-880C-48D2ACEB28EB}" type="presParOf" srcId="{A512BDA4-14AA-431A-AAFB-DD53C375EF12}" destId="{E86958F0-1F36-4CF4-A816-78503D7503EF}" srcOrd="0" destOrd="0" presId="urn:microsoft.com/office/officeart/2005/8/layout/hProcess11"/>
    <dgm:cxn modelId="{DA263A3E-5DB5-4262-B6F1-FBD011BE51C7}" type="presParOf" srcId="{A512BDA4-14AA-431A-AAFB-DD53C375EF12}" destId="{8B5655EC-DEC4-4D93-9C90-597C8E84D3D5}" srcOrd="1" destOrd="0" presId="urn:microsoft.com/office/officeart/2005/8/layout/hProcess11"/>
    <dgm:cxn modelId="{5F29977F-048D-424F-A332-833E92E201AB}" type="presParOf" srcId="{A512BDA4-14AA-431A-AAFB-DD53C375EF12}" destId="{CB50FE2F-5506-4A82-96B0-F3E9DFDB2616}" srcOrd="2" destOrd="0" presId="urn:microsoft.com/office/officeart/2005/8/layout/hProcess11"/>
    <dgm:cxn modelId="{4213AA66-3D5B-4AEC-B366-F201BA523094}" type="presParOf" srcId="{ED8CAE9C-C889-4885-8150-B4F2AEDEF6AE}" destId="{4E48636C-3A3B-4CF6-9BCA-120FDE7715AD}" srcOrd="7" destOrd="0" presId="urn:microsoft.com/office/officeart/2005/8/layout/hProcess11"/>
    <dgm:cxn modelId="{ACEBE056-7301-4A6F-82F9-F2B73AD87236}" type="presParOf" srcId="{ED8CAE9C-C889-4885-8150-B4F2AEDEF6AE}" destId="{F0AF3D77-8D61-4472-8F84-3610CEF53D4B}" srcOrd="8" destOrd="0" presId="urn:microsoft.com/office/officeart/2005/8/layout/hProcess11"/>
    <dgm:cxn modelId="{E67AB014-5A86-4DD0-B71F-A0C1EC6D4AFB}" type="presParOf" srcId="{F0AF3D77-8D61-4472-8F84-3610CEF53D4B}" destId="{DCB6AD85-945E-4973-8A16-CA3175C53E2C}" srcOrd="0" destOrd="0" presId="urn:microsoft.com/office/officeart/2005/8/layout/hProcess11"/>
    <dgm:cxn modelId="{F48AE3A4-ECAF-4D74-B545-1CBF07D9FD63}" type="presParOf" srcId="{F0AF3D77-8D61-4472-8F84-3610CEF53D4B}" destId="{406827F4-837C-404D-9F9D-D2460B34FCBC}" srcOrd="1" destOrd="0" presId="urn:microsoft.com/office/officeart/2005/8/layout/hProcess11"/>
    <dgm:cxn modelId="{EF10B11A-6D00-4CAD-899E-0E56ED912FCA}" type="presParOf" srcId="{F0AF3D77-8D61-4472-8F84-3610CEF53D4B}" destId="{350D42DF-644A-42DC-87FB-43E650A56611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883A2085-1A59-408F-8841-36F9F097C39C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D9A04103-781A-44D0-A006-B93DCB191E5C}">
      <dgm:prSet/>
      <dgm:spPr/>
      <dgm:t>
        <a:bodyPr/>
        <a:lstStyle/>
        <a:p>
          <a:r>
            <a:rPr lang="sv-SE" dirty="0"/>
            <a:t>Är vägledningens övergripande delar som adresserar huvudmannen implementerade i din region eller kommun?</a:t>
          </a:r>
        </a:p>
      </dgm:t>
    </dgm:pt>
    <dgm:pt modelId="{67135D27-61BD-4A74-B41D-35EB7B606540}" type="parTrans" cxnId="{8EBA2C02-9DBE-4B15-8C37-28B70832BAE4}">
      <dgm:prSet/>
      <dgm:spPr/>
      <dgm:t>
        <a:bodyPr/>
        <a:lstStyle/>
        <a:p>
          <a:endParaRPr lang="sv-SE"/>
        </a:p>
      </dgm:t>
    </dgm:pt>
    <dgm:pt modelId="{85F13080-8827-46FB-89C3-1F5CB2F491E4}" type="sibTrans" cxnId="{8EBA2C02-9DBE-4B15-8C37-28B70832BAE4}">
      <dgm:prSet/>
      <dgm:spPr/>
      <dgm:t>
        <a:bodyPr/>
        <a:lstStyle/>
        <a:p>
          <a:endParaRPr lang="sv-SE"/>
        </a:p>
      </dgm:t>
    </dgm:pt>
    <dgm:pt modelId="{CDA43D66-B258-47AA-A677-4404816EADAE}">
      <dgm:prSet/>
      <dgm:spPr/>
      <dgm:t>
        <a:bodyPr/>
        <a:lstStyle/>
        <a:p>
          <a:r>
            <a:rPr lang="sv-SE"/>
            <a:t>Finns delarna i vägledningen som handlar om vårdgivarens ansvar implementerade i din region eller kommun?</a:t>
          </a:r>
        </a:p>
      </dgm:t>
    </dgm:pt>
    <dgm:pt modelId="{A7D5B86E-6CB5-401D-93B5-00EB19D385FD}" type="parTrans" cxnId="{4982C182-C901-4CF9-9470-68C6BB7DC482}">
      <dgm:prSet/>
      <dgm:spPr/>
      <dgm:t>
        <a:bodyPr/>
        <a:lstStyle/>
        <a:p>
          <a:endParaRPr lang="sv-SE"/>
        </a:p>
      </dgm:t>
    </dgm:pt>
    <dgm:pt modelId="{C13ED7B0-6298-485E-BF29-174DDBD2C73F}" type="sibTrans" cxnId="{4982C182-C901-4CF9-9470-68C6BB7DC482}">
      <dgm:prSet/>
      <dgm:spPr/>
      <dgm:t>
        <a:bodyPr/>
        <a:lstStyle/>
        <a:p>
          <a:endParaRPr lang="sv-SE"/>
        </a:p>
      </dgm:t>
    </dgm:pt>
    <dgm:pt modelId="{6B72A041-93BE-44DA-B2D0-C4A5FA0331CA}">
      <dgm:prSet/>
      <dgm:spPr/>
      <dgm:t>
        <a:bodyPr/>
        <a:lstStyle/>
        <a:p>
          <a:r>
            <a:rPr lang="sv-SE" dirty="0"/>
            <a:t>Vilka delar i vägledningen finns redan på plats och vilka behöver du arbeta vidare med?</a:t>
          </a:r>
        </a:p>
      </dgm:t>
    </dgm:pt>
    <dgm:pt modelId="{461A98E5-2869-4AC8-95AA-CC2937B0DFE7}" type="parTrans" cxnId="{2EE0999A-D34A-42DD-B9AD-A65C0E6EBB2C}">
      <dgm:prSet/>
      <dgm:spPr/>
      <dgm:t>
        <a:bodyPr/>
        <a:lstStyle/>
        <a:p>
          <a:endParaRPr lang="sv-SE"/>
        </a:p>
      </dgm:t>
    </dgm:pt>
    <dgm:pt modelId="{2B9B6EE9-A3A0-420F-BF16-2D42BD3E67DA}" type="sibTrans" cxnId="{2EE0999A-D34A-42DD-B9AD-A65C0E6EBB2C}">
      <dgm:prSet/>
      <dgm:spPr/>
      <dgm:t>
        <a:bodyPr/>
        <a:lstStyle/>
        <a:p>
          <a:endParaRPr lang="sv-SE"/>
        </a:p>
      </dgm:t>
    </dgm:pt>
    <dgm:pt modelId="{CDD98C0F-3547-42A0-92AB-73A19B676B22}">
      <dgm:prSet/>
      <dgm:spPr/>
      <dgm:t>
        <a:bodyPr/>
        <a:lstStyle/>
        <a:p>
          <a:r>
            <a:rPr lang="sv-SE"/>
            <a:t>Vilka stödjande funktioner i din region eller kommun kan vara en del i implementeringsarbetet?</a:t>
          </a:r>
        </a:p>
      </dgm:t>
    </dgm:pt>
    <dgm:pt modelId="{52BF8A5E-B704-428B-B226-33A133213DB4}" type="parTrans" cxnId="{7243E1A1-03D5-414B-B9B2-FE56C770CB87}">
      <dgm:prSet/>
      <dgm:spPr/>
      <dgm:t>
        <a:bodyPr/>
        <a:lstStyle/>
        <a:p>
          <a:endParaRPr lang="sv-SE"/>
        </a:p>
      </dgm:t>
    </dgm:pt>
    <dgm:pt modelId="{1D8CDEC7-6148-449D-ABB6-F3C4F7C69C60}" type="sibTrans" cxnId="{7243E1A1-03D5-414B-B9B2-FE56C770CB87}">
      <dgm:prSet/>
      <dgm:spPr/>
      <dgm:t>
        <a:bodyPr/>
        <a:lstStyle/>
        <a:p>
          <a:endParaRPr lang="sv-SE"/>
        </a:p>
      </dgm:t>
    </dgm:pt>
    <dgm:pt modelId="{2AB5EFAE-9647-4128-80A8-E5F8B8FCF5ED}">
      <dgm:prSet/>
      <dgm:spPr/>
      <dgm:t>
        <a:bodyPr/>
        <a:lstStyle/>
        <a:p>
          <a:r>
            <a:rPr lang="sv-SE"/>
            <a:t>Kan checklistorna användas för att ge ett nuläge?</a:t>
          </a:r>
        </a:p>
      </dgm:t>
    </dgm:pt>
    <dgm:pt modelId="{769E4E94-47A7-40D8-83C7-58E0A7DE1F47}" type="parTrans" cxnId="{6331EEDD-5CB4-43F3-87CA-6FE65FAEDC44}">
      <dgm:prSet/>
      <dgm:spPr/>
      <dgm:t>
        <a:bodyPr/>
        <a:lstStyle/>
        <a:p>
          <a:endParaRPr lang="sv-SE"/>
        </a:p>
      </dgm:t>
    </dgm:pt>
    <dgm:pt modelId="{0566566B-B8A7-4428-AC58-55DBDB99DC43}" type="sibTrans" cxnId="{6331EEDD-5CB4-43F3-87CA-6FE65FAEDC44}">
      <dgm:prSet/>
      <dgm:spPr/>
      <dgm:t>
        <a:bodyPr/>
        <a:lstStyle/>
        <a:p>
          <a:endParaRPr lang="sv-SE"/>
        </a:p>
      </dgm:t>
    </dgm:pt>
    <dgm:pt modelId="{5C45B02B-89C6-486E-A212-ED6161C8867C}" type="pres">
      <dgm:prSet presAssocID="{883A2085-1A59-408F-8841-36F9F097C39C}" presName="root" presStyleCnt="0">
        <dgm:presLayoutVars>
          <dgm:dir/>
          <dgm:resizeHandles val="exact"/>
        </dgm:presLayoutVars>
      </dgm:prSet>
      <dgm:spPr/>
    </dgm:pt>
    <dgm:pt modelId="{FC8D294A-2818-47DB-8632-677106EC79FB}" type="pres">
      <dgm:prSet presAssocID="{D9A04103-781A-44D0-A006-B93DCB191E5C}" presName="compNode" presStyleCnt="0"/>
      <dgm:spPr/>
    </dgm:pt>
    <dgm:pt modelId="{97B1D996-4FB1-414B-8C87-729134353AA1}" type="pres">
      <dgm:prSet presAssocID="{D9A04103-781A-44D0-A006-B93DCB191E5C}" presName="bgRect" presStyleLbl="bgShp" presStyleIdx="0" presStyleCnt="5" custLinFactNeighborX="2493" custLinFactNeighborY="-469"/>
      <dgm:spPr/>
    </dgm:pt>
    <dgm:pt modelId="{6C1E79AC-D8B4-4A9D-A45D-712EEAD296A3}" type="pres">
      <dgm:prSet presAssocID="{D9A04103-781A-44D0-A006-B93DCB191E5C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nslutningar med hel fyllning"/>
        </a:ext>
      </dgm:extLst>
    </dgm:pt>
    <dgm:pt modelId="{16A5C23C-19D1-4C70-A8D5-C4DAA0DCB512}" type="pres">
      <dgm:prSet presAssocID="{D9A04103-781A-44D0-A006-B93DCB191E5C}" presName="spaceRect" presStyleCnt="0"/>
      <dgm:spPr/>
    </dgm:pt>
    <dgm:pt modelId="{FE43BBB9-EA0B-41F2-919B-40F8F75446C9}" type="pres">
      <dgm:prSet presAssocID="{D9A04103-781A-44D0-A006-B93DCB191E5C}" presName="parTx" presStyleLbl="revTx" presStyleIdx="0" presStyleCnt="5">
        <dgm:presLayoutVars>
          <dgm:chMax val="0"/>
          <dgm:chPref val="0"/>
        </dgm:presLayoutVars>
      </dgm:prSet>
      <dgm:spPr/>
    </dgm:pt>
    <dgm:pt modelId="{7AF05A49-8FC9-462F-AA5D-90BADFE87C3B}" type="pres">
      <dgm:prSet presAssocID="{85F13080-8827-46FB-89C3-1F5CB2F491E4}" presName="sibTrans" presStyleCnt="0"/>
      <dgm:spPr/>
    </dgm:pt>
    <dgm:pt modelId="{0BD397FE-7489-4A66-81EE-B221B241D4FA}" type="pres">
      <dgm:prSet presAssocID="{CDA43D66-B258-47AA-A677-4404816EADAE}" presName="compNode" presStyleCnt="0"/>
      <dgm:spPr/>
    </dgm:pt>
    <dgm:pt modelId="{7220E623-F9E7-46E5-9223-58F29D47AD71}" type="pres">
      <dgm:prSet presAssocID="{CDA43D66-B258-47AA-A677-4404816EADAE}" presName="bgRect" presStyleLbl="bgShp" presStyleIdx="1" presStyleCnt="5"/>
      <dgm:spPr/>
    </dgm:pt>
    <dgm:pt modelId="{F5294C60-6DE7-4721-AAD4-8A8FE7D7134B}" type="pres">
      <dgm:prSet presAssocID="{CDA43D66-B258-47AA-A677-4404816EADAE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nlagd patient med hel fyllning"/>
        </a:ext>
      </dgm:extLst>
    </dgm:pt>
    <dgm:pt modelId="{E466F1B4-11DA-4C09-80DE-C6EAE1FD95C4}" type="pres">
      <dgm:prSet presAssocID="{CDA43D66-B258-47AA-A677-4404816EADAE}" presName="spaceRect" presStyleCnt="0"/>
      <dgm:spPr/>
    </dgm:pt>
    <dgm:pt modelId="{0F102C52-2426-449F-81BC-445708AE35D9}" type="pres">
      <dgm:prSet presAssocID="{CDA43D66-B258-47AA-A677-4404816EADAE}" presName="parTx" presStyleLbl="revTx" presStyleIdx="1" presStyleCnt="5">
        <dgm:presLayoutVars>
          <dgm:chMax val="0"/>
          <dgm:chPref val="0"/>
        </dgm:presLayoutVars>
      </dgm:prSet>
      <dgm:spPr/>
    </dgm:pt>
    <dgm:pt modelId="{EC441240-EEF5-439B-B30F-19135EA63B63}" type="pres">
      <dgm:prSet presAssocID="{C13ED7B0-6298-485E-BF29-174DDBD2C73F}" presName="sibTrans" presStyleCnt="0"/>
      <dgm:spPr/>
    </dgm:pt>
    <dgm:pt modelId="{A0D8A352-F517-427D-B849-E75CADAC5820}" type="pres">
      <dgm:prSet presAssocID="{6B72A041-93BE-44DA-B2D0-C4A5FA0331CA}" presName="compNode" presStyleCnt="0"/>
      <dgm:spPr/>
    </dgm:pt>
    <dgm:pt modelId="{DD586CAF-F652-448B-8CD6-20DA65EE76C2}" type="pres">
      <dgm:prSet presAssocID="{6B72A041-93BE-44DA-B2D0-C4A5FA0331CA}" presName="bgRect" presStyleLbl="bgShp" presStyleIdx="2" presStyleCnt="5"/>
      <dgm:spPr/>
    </dgm:pt>
    <dgm:pt modelId="{A8EB446F-6C76-483A-A468-817EC43257EA}" type="pres">
      <dgm:prSet presAssocID="{6B72A041-93BE-44DA-B2D0-C4A5FA0331CA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uppkreativitet med hel fyllning"/>
        </a:ext>
      </dgm:extLst>
    </dgm:pt>
    <dgm:pt modelId="{B5324574-10B1-42B9-AA71-965D62905366}" type="pres">
      <dgm:prSet presAssocID="{6B72A041-93BE-44DA-B2D0-C4A5FA0331CA}" presName="spaceRect" presStyleCnt="0"/>
      <dgm:spPr/>
    </dgm:pt>
    <dgm:pt modelId="{5A88800A-81E0-4181-8DE2-F4948CF06D2F}" type="pres">
      <dgm:prSet presAssocID="{6B72A041-93BE-44DA-B2D0-C4A5FA0331CA}" presName="parTx" presStyleLbl="revTx" presStyleIdx="2" presStyleCnt="5">
        <dgm:presLayoutVars>
          <dgm:chMax val="0"/>
          <dgm:chPref val="0"/>
        </dgm:presLayoutVars>
      </dgm:prSet>
      <dgm:spPr/>
    </dgm:pt>
    <dgm:pt modelId="{C4F21802-817E-457E-AC37-F1DBB08A5F21}" type="pres">
      <dgm:prSet presAssocID="{2B9B6EE9-A3A0-420F-BF16-2D42BD3E67DA}" presName="sibTrans" presStyleCnt="0"/>
      <dgm:spPr/>
    </dgm:pt>
    <dgm:pt modelId="{8E4ABF6F-568D-4D12-A807-A9BAD144B3A7}" type="pres">
      <dgm:prSet presAssocID="{CDD98C0F-3547-42A0-92AB-73A19B676B22}" presName="compNode" presStyleCnt="0"/>
      <dgm:spPr/>
    </dgm:pt>
    <dgm:pt modelId="{E5E93A44-1131-4D14-B79E-9FA998C6B151}" type="pres">
      <dgm:prSet presAssocID="{CDD98C0F-3547-42A0-92AB-73A19B676B22}" presName="bgRect" presStyleLbl="bgShp" presStyleIdx="3" presStyleCnt="5"/>
      <dgm:spPr/>
    </dgm:pt>
    <dgm:pt modelId="{33DECAC8-59B8-4739-A07A-01BA69512F76}" type="pres">
      <dgm:prSet presAssocID="{CDD98C0F-3547-42A0-92AB-73A19B676B22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kakning med hel fyllning"/>
        </a:ext>
      </dgm:extLst>
    </dgm:pt>
    <dgm:pt modelId="{25856743-9E06-44B3-B7D0-8E3FC31D027F}" type="pres">
      <dgm:prSet presAssocID="{CDD98C0F-3547-42A0-92AB-73A19B676B22}" presName="spaceRect" presStyleCnt="0"/>
      <dgm:spPr/>
    </dgm:pt>
    <dgm:pt modelId="{70C54F85-7815-4FFF-BD2D-0397C805FDC7}" type="pres">
      <dgm:prSet presAssocID="{CDD98C0F-3547-42A0-92AB-73A19B676B22}" presName="parTx" presStyleLbl="revTx" presStyleIdx="3" presStyleCnt="5">
        <dgm:presLayoutVars>
          <dgm:chMax val="0"/>
          <dgm:chPref val="0"/>
        </dgm:presLayoutVars>
      </dgm:prSet>
      <dgm:spPr/>
    </dgm:pt>
    <dgm:pt modelId="{B7DA7536-3501-47D7-A58C-0528C169088F}" type="pres">
      <dgm:prSet presAssocID="{1D8CDEC7-6148-449D-ABB6-F3C4F7C69C60}" presName="sibTrans" presStyleCnt="0"/>
      <dgm:spPr/>
    </dgm:pt>
    <dgm:pt modelId="{FD0E05F3-A4A7-4D78-88D2-96F9E4689D84}" type="pres">
      <dgm:prSet presAssocID="{2AB5EFAE-9647-4128-80A8-E5F8B8FCF5ED}" presName="compNode" presStyleCnt="0"/>
      <dgm:spPr/>
    </dgm:pt>
    <dgm:pt modelId="{AFD118F9-C286-485E-B1B8-CD653679CFDD}" type="pres">
      <dgm:prSet presAssocID="{2AB5EFAE-9647-4128-80A8-E5F8B8FCF5ED}" presName="bgRect" presStyleLbl="bgShp" presStyleIdx="4" presStyleCnt="5"/>
      <dgm:spPr/>
    </dgm:pt>
    <dgm:pt modelId="{EC331811-53CF-4F65-A508-96F2939A11E6}" type="pres">
      <dgm:prSet presAssocID="{2AB5EFAE-9647-4128-80A8-E5F8B8FCF5ED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krivplatta avbockat och kryssat med hel fyllning"/>
        </a:ext>
      </dgm:extLst>
    </dgm:pt>
    <dgm:pt modelId="{BB0A7585-48F2-4193-BA4B-88DF2050B8B2}" type="pres">
      <dgm:prSet presAssocID="{2AB5EFAE-9647-4128-80A8-E5F8B8FCF5ED}" presName="spaceRect" presStyleCnt="0"/>
      <dgm:spPr/>
    </dgm:pt>
    <dgm:pt modelId="{0DFDD8F4-973B-42BD-A920-14F8171CEF07}" type="pres">
      <dgm:prSet presAssocID="{2AB5EFAE-9647-4128-80A8-E5F8B8FCF5ED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8EBA2C02-9DBE-4B15-8C37-28B70832BAE4}" srcId="{883A2085-1A59-408F-8841-36F9F097C39C}" destId="{D9A04103-781A-44D0-A006-B93DCB191E5C}" srcOrd="0" destOrd="0" parTransId="{67135D27-61BD-4A74-B41D-35EB7B606540}" sibTransId="{85F13080-8827-46FB-89C3-1F5CB2F491E4}"/>
    <dgm:cxn modelId="{ABADDC11-5417-4B1A-92DF-4A9125EE1A94}" type="presOf" srcId="{D9A04103-781A-44D0-A006-B93DCB191E5C}" destId="{FE43BBB9-EA0B-41F2-919B-40F8F75446C9}" srcOrd="0" destOrd="0" presId="urn:microsoft.com/office/officeart/2018/2/layout/IconVerticalSolidList"/>
    <dgm:cxn modelId="{BE3F2119-531D-4B23-BB5F-AA7FFCF2D48B}" type="presOf" srcId="{CDA43D66-B258-47AA-A677-4404816EADAE}" destId="{0F102C52-2426-449F-81BC-445708AE35D9}" srcOrd="0" destOrd="0" presId="urn:microsoft.com/office/officeart/2018/2/layout/IconVerticalSolidList"/>
    <dgm:cxn modelId="{AEB35A3A-C6C6-4D1E-9D09-3B79A89E82F8}" type="presOf" srcId="{883A2085-1A59-408F-8841-36F9F097C39C}" destId="{5C45B02B-89C6-486E-A212-ED6161C8867C}" srcOrd="0" destOrd="0" presId="urn:microsoft.com/office/officeart/2018/2/layout/IconVerticalSolidList"/>
    <dgm:cxn modelId="{EC479555-07AE-494D-B72F-3EC91F5DD855}" type="presOf" srcId="{2AB5EFAE-9647-4128-80A8-E5F8B8FCF5ED}" destId="{0DFDD8F4-973B-42BD-A920-14F8171CEF07}" srcOrd="0" destOrd="0" presId="urn:microsoft.com/office/officeart/2018/2/layout/IconVerticalSolidList"/>
    <dgm:cxn modelId="{4982C182-C901-4CF9-9470-68C6BB7DC482}" srcId="{883A2085-1A59-408F-8841-36F9F097C39C}" destId="{CDA43D66-B258-47AA-A677-4404816EADAE}" srcOrd="1" destOrd="0" parTransId="{A7D5B86E-6CB5-401D-93B5-00EB19D385FD}" sibTransId="{C13ED7B0-6298-485E-BF29-174DDBD2C73F}"/>
    <dgm:cxn modelId="{2EE0999A-D34A-42DD-B9AD-A65C0E6EBB2C}" srcId="{883A2085-1A59-408F-8841-36F9F097C39C}" destId="{6B72A041-93BE-44DA-B2D0-C4A5FA0331CA}" srcOrd="2" destOrd="0" parTransId="{461A98E5-2869-4AC8-95AA-CC2937B0DFE7}" sibTransId="{2B9B6EE9-A3A0-420F-BF16-2D42BD3E67DA}"/>
    <dgm:cxn modelId="{6653239C-9567-4E35-9E6B-666EC339F942}" type="presOf" srcId="{CDD98C0F-3547-42A0-92AB-73A19B676B22}" destId="{70C54F85-7815-4FFF-BD2D-0397C805FDC7}" srcOrd="0" destOrd="0" presId="urn:microsoft.com/office/officeart/2018/2/layout/IconVerticalSolidList"/>
    <dgm:cxn modelId="{7243E1A1-03D5-414B-B9B2-FE56C770CB87}" srcId="{883A2085-1A59-408F-8841-36F9F097C39C}" destId="{CDD98C0F-3547-42A0-92AB-73A19B676B22}" srcOrd="3" destOrd="0" parTransId="{52BF8A5E-B704-428B-B226-33A133213DB4}" sibTransId="{1D8CDEC7-6148-449D-ABB6-F3C4F7C69C60}"/>
    <dgm:cxn modelId="{699DFDCA-17D7-4179-8F29-D2547236A06F}" type="presOf" srcId="{6B72A041-93BE-44DA-B2D0-C4A5FA0331CA}" destId="{5A88800A-81E0-4181-8DE2-F4948CF06D2F}" srcOrd="0" destOrd="0" presId="urn:microsoft.com/office/officeart/2018/2/layout/IconVerticalSolidList"/>
    <dgm:cxn modelId="{6331EEDD-5CB4-43F3-87CA-6FE65FAEDC44}" srcId="{883A2085-1A59-408F-8841-36F9F097C39C}" destId="{2AB5EFAE-9647-4128-80A8-E5F8B8FCF5ED}" srcOrd="4" destOrd="0" parTransId="{769E4E94-47A7-40D8-83C7-58E0A7DE1F47}" sibTransId="{0566566B-B8A7-4428-AC58-55DBDB99DC43}"/>
    <dgm:cxn modelId="{E79F588A-DCDE-43D5-805D-4F268B3D2512}" type="presParOf" srcId="{5C45B02B-89C6-486E-A212-ED6161C8867C}" destId="{FC8D294A-2818-47DB-8632-677106EC79FB}" srcOrd="0" destOrd="0" presId="urn:microsoft.com/office/officeart/2018/2/layout/IconVerticalSolidList"/>
    <dgm:cxn modelId="{9CA0332C-F2D1-4B3A-A60B-6BA956525941}" type="presParOf" srcId="{FC8D294A-2818-47DB-8632-677106EC79FB}" destId="{97B1D996-4FB1-414B-8C87-729134353AA1}" srcOrd="0" destOrd="0" presId="urn:microsoft.com/office/officeart/2018/2/layout/IconVerticalSolidList"/>
    <dgm:cxn modelId="{0AC9C2CE-863F-4B0E-A6D0-9E37B99B0761}" type="presParOf" srcId="{FC8D294A-2818-47DB-8632-677106EC79FB}" destId="{6C1E79AC-D8B4-4A9D-A45D-712EEAD296A3}" srcOrd="1" destOrd="0" presId="urn:microsoft.com/office/officeart/2018/2/layout/IconVerticalSolidList"/>
    <dgm:cxn modelId="{241536D7-57E8-4C2D-8D89-8A5051782DB4}" type="presParOf" srcId="{FC8D294A-2818-47DB-8632-677106EC79FB}" destId="{16A5C23C-19D1-4C70-A8D5-C4DAA0DCB512}" srcOrd="2" destOrd="0" presId="urn:microsoft.com/office/officeart/2018/2/layout/IconVerticalSolidList"/>
    <dgm:cxn modelId="{87DAECFC-6382-446D-9D43-ABBDAE5D7A21}" type="presParOf" srcId="{FC8D294A-2818-47DB-8632-677106EC79FB}" destId="{FE43BBB9-EA0B-41F2-919B-40F8F75446C9}" srcOrd="3" destOrd="0" presId="urn:microsoft.com/office/officeart/2018/2/layout/IconVerticalSolidList"/>
    <dgm:cxn modelId="{EA1A270A-5595-4DA9-83C5-49FA95FF8079}" type="presParOf" srcId="{5C45B02B-89C6-486E-A212-ED6161C8867C}" destId="{7AF05A49-8FC9-462F-AA5D-90BADFE87C3B}" srcOrd="1" destOrd="0" presId="urn:microsoft.com/office/officeart/2018/2/layout/IconVerticalSolidList"/>
    <dgm:cxn modelId="{1F9EF7F8-029A-496A-B6EC-AC4253E09341}" type="presParOf" srcId="{5C45B02B-89C6-486E-A212-ED6161C8867C}" destId="{0BD397FE-7489-4A66-81EE-B221B241D4FA}" srcOrd="2" destOrd="0" presId="urn:microsoft.com/office/officeart/2018/2/layout/IconVerticalSolidList"/>
    <dgm:cxn modelId="{81E33BAC-DCD1-4573-8A03-F843DF89B51D}" type="presParOf" srcId="{0BD397FE-7489-4A66-81EE-B221B241D4FA}" destId="{7220E623-F9E7-46E5-9223-58F29D47AD71}" srcOrd="0" destOrd="0" presId="urn:microsoft.com/office/officeart/2018/2/layout/IconVerticalSolidList"/>
    <dgm:cxn modelId="{5198C1ED-A916-41DB-BC36-2D20E6396981}" type="presParOf" srcId="{0BD397FE-7489-4A66-81EE-B221B241D4FA}" destId="{F5294C60-6DE7-4721-AAD4-8A8FE7D7134B}" srcOrd="1" destOrd="0" presId="urn:microsoft.com/office/officeart/2018/2/layout/IconVerticalSolidList"/>
    <dgm:cxn modelId="{5435786D-D8C0-4DB0-9092-A516D3CBD6A4}" type="presParOf" srcId="{0BD397FE-7489-4A66-81EE-B221B241D4FA}" destId="{E466F1B4-11DA-4C09-80DE-C6EAE1FD95C4}" srcOrd="2" destOrd="0" presId="urn:microsoft.com/office/officeart/2018/2/layout/IconVerticalSolidList"/>
    <dgm:cxn modelId="{D94B6C7C-83CB-4979-BA0D-8B125FCC3474}" type="presParOf" srcId="{0BD397FE-7489-4A66-81EE-B221B241D4FA}" destId="{0F102C52-2426-449F-81BC-445708AE35D9}" srcOrd="3" destOrd="0" presId="urn:microsoft.com/office/officeart/2018/2/layout/IconVerticalSolidList"/>
    <dgm:cxn modelId="{9C54E832-5AE0-4ADD-A3EA-1B6E88CCC94D}" type="presParOf" srcId="{5C45B02B-89C6-486E-A212-ED6161C8867C}" destId="{EC441240-EEF5-439B-B30F-19135EA63B63}" srcOrd="3" destOrd="0" presId="urn:microsoft.com/office/officeart/2018/2/layout/IconVerticalSolidList"/>
    <dgm:cxn modelId="{CD2FCEAD-9121-48DA-8211-C1E0517E5B25}" type="presParOf" srcId="{5C45B02B-89C6-486E-A212-ED6161C8867C}" destId="{A0D8A352-F517-427D-B849-E75CADAC5820}" srcOrd="4" destOrd="0" presId="urn:microsoft.com/office/officeart/2018/2/layout/IconVerticalSolidList"/>
    <dgm:cxn modelId="{B9D3DAAC-C113-41E5-81E0-E80E04BD0EAF}" type="presParOf" srcId="{A0D8A352-F517-427D-B849-E75CADAC5820}" destId="{DD586CAF-F652-448B-8CD6-20DA65EE76C2}" srcOrd="0" destOrd="0" presId="urn:microsoft.com/office/officeart/2018/2/layout/IconVerticalSolidList"/>
    <dgm:cxn modelId="{CE36CA21-1FEE-464A-BF2E-8365D7D00F58}" type="presParOf" srcId="{A0D8A352-F517-427D-B849-E75CADAC5820}" destId="{A8EB446F-6C76-483A-A468-817EC43257EA}" srcOrd="1" destOrd="0" presId="urn:microsoft.com/office/officeart/2018/2/layout/IconVerticalSolidList"/>
    <dgm:cxn modelId="{3D1884FA-9DF7-42DE-8DD7-985A36C12814}" type="presParOf" srcId="{A0D8A352-F517-427D-B849-E75CADAC5820}" destId="{B5324574-10B1-42B9-AA71-965D62905366}" srcOrd="2" destOrd="0" presId="urn:microsoft.com/office/officeart/2018/2/layout/IconVerticalSolidList"/>
    <dgm:cxn modelId="{33277D68-0BD9-431F-B752-CFB940991FFE}" type="presParOf" srcId="{A0D8A352-F517-427D-B849-E75CADAC5820}" destId="{5A88800A-81E0-4181-8DE2-F4948CF06D2F}" srcOrd="3" destOrd="0" presId="urn:microsoft.com/office/officeart/2018/2/layout/IconVerticalSolidList"/>
    <dgm:cxn modelId="{9E29AFEA-1235-416C-B5B4-D0AD531A09F9}" type="presParOf" srcId="{5C45B02B-89C6-486E-A212-ED6161C8867C}" destId="{C4F21802-817E-457E-AC37-F1DBB08A5F21}" srcOrd="5" destOrd="0" presId="urn:microsoft.com/office/officeart/2018/2/layout/IconVerticalSolidList"/>
    <dgm:cxn modelId="{AE1FB954-27F0-4623-8619-E1200FA54929}" type="presParOf" srcId="{5C45B02B-89C6-486E-A212-ED6161C8867C}" destId="{8E4ABF6F-568D-4D12-A807-A9BAD144B3A7}" srcOrd="6" destOrd="0" presId="urn:microsoft.com/office/officeart/2018/2/layout/IconVerticalSolidList"/>
    <dgm:cxn modelId="{DD16982E-B8B5-4B54-AEB5-8F4EDDE98432}" type="presParOf" srcId="{8E4ABF6F-568D-4D12-A807-A9BAD144B3A7}" destId="{E5E93A44-1131-4D14-B79E-9FA998C6B151}" srcOrd="0" destOrd="0" presId="urn:microsoft.com/office/officeart/2018/2/layout/IconVerticalSolidList"/>
    <dgm:cxn modelId="{DA09612C-7035-4FC2-8F8A-3B334B44CF38}" type="presParOf" srcId="{8E4ABF6F-568D-4D12-A807-A9BAD144B3A7}" destId="{33DECAC8-59B8-4739-A07A-01BA69512F76}" srcOrd="1" destOrd="0" presId="urn:microsoft.com/office/officeart/2018/2/layout/IconVerticalSolidList"/>
    <dgm:cxn modelId="{183839F3-7656-41EB-8F6E-612EEF36AD3F}" type="presParOf" srcId="{8E4ABF6F-568D-4D12-A807-A9BAD144B3A7}" destId="{25856743-9E06-44B3-B7D0-8E3FC31D027F}" srcOrd="2" destOrd="0" presId="urn:microsoft.com/office/officeart/2018/2/layout/IconVerticalSolidList"/>
    <dgm:cxn modelId="{F85B0BA5-FDE3-4E02-A6D3-CF76AAAEEA01}" type="presParOf" srcId="{8E4ABF6F-568D-4D12-A807-A9BAD144B3A7}" destId="{70C54F85-7815-4FFF-BD2D-0397C805FDC7}" srcOrd="3" destOrd="0" presId="urn:microsoft.com/office/officeart/2018/2/layout/IconVerticalSolidList"/>
    <dgm:cxn modelId="{A1E688CA-37BA-479C-BF94-6EB198F41746}" type="presParOf" srcId="{5C45B02B-89C6-486E-A212-ED6161C8867C}" destId="{B7DA7536-3501-47D7-A58C-0528C169088F}" srcOrd="7" destOrd="0" presId="urn:microsoft.com/office/officeart/2018/2/layout/IconVerticalSolidList"/>
    <dgm:cxn modelId="{9F29F1DC-838A-4ACC-A79B-C89EA2ECF7FB}" type="presParOf" srcId="{5C45B02B-89C6-486E-A212-ED6161C8867C}" destId="{FD0E05F3-A4A7-4D78-88D2-96F9E4689D84}" srcOrd="8" destOrd="0" presId="urn:microsoft.com/office/officeart/2018/2/layout/IconVerticalSolidList"/>
    <dgm:cxn modelId="{F3E786E4-C741-4F1F-8DAD-AC08B95E5F5A}" type="presParOf" srcId="{FD0E05F3-A4A7-4D78-88D2-96F9E4689D84}" destId="{AFD118F9-C286-485E-B1B8-CD653679CFDD}" srcOrd="0" destOrd="0" presId="urn:microsoft.com/office/officeart/2018/2/layout/IconVerticalSolidList"/>
    <dgm:cxn modelId="{5A7128C2-79C0-4B3D-95BF-5D0F1C5B151F}" type="presParOf" srcId="{FD0E05F3-A4A7-4D78-88D2-96F9E4689D84}" destId="{EC331811-53CF-4F65-A508-96F2939A11E6}" srcOrd="1" destOrd="0" presId="urn:microsoft.com/office/officeart/2018/2/layout/IconVerticalSolidList"/>
    <dgm:cxn modelId="{D5910DB0-54F1-4E41-B10E-6F344FFEF57D}" type="presParOf" srcId="{FD0E05F3-A4A7-4D78-88D2-96F9E4689D84}" destId="{BB0A7585-48F2-4193-BA4B-88DF2050B8B2}" srcOrd="2" destOrd="0" presId="urn:microsoft.com/office/officeart/2018/2/layout/IconVerticalSolidList"/>
    <dgm:cxn modelId="{33852D93-6F47-4B32-B972-F93536B9BE31}" type="presParOf" srcId="{FD0E05F3-A4A7-4D78-88D2-96F9E4689D84}" destId="{0DFDD8F4-973B-42BD-A920-14F8171CEF07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E91D85-A7E5-4E15-B3FC-A8D605540757}">
      <dsp:nvSpPr>
        <dsp:cNvPr id="0" name=""/>
        <dsp:cNvSpPr/>
      </dsp:nvSpPr>
      <dsp:spPr>
        <a:xfrm>
          <a:off x="1184327" y="410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/>
            <a:t>Plan </a:t>
          </a:r>
        </a:p>
      </dsp:txBody>
      <dsp:txXfrm>
        <a:off x="1250476" y="66559"/>
        <a:ext cx="319399" cy="319399"/>
      </dsp:txXfrm>
    </dsp:sp>
    <dsp:sp modelId="{85B0733E-E5A0-4830-85DC-EABBC9C2FBD2}">
      <dsp:nvSpPr>
        <dsp:cNvPr id="0" name=""/>
        <dsp:cNvSpPr/>
      </dsp:nvSpPr>
      <dsp:spPr>
        <a:xfrm rot="2700000">
          <a:off x="1587590" y="387676"/>
          <a:ext cx="120454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>
        <a:off x="1592882" y="405389"/>
        <a:ext cx="84318" cy="91469"/>
      </dsp:txXfrm>
    </dsp:sp>
    <dsp:sp modelId="{D0C417A6-F9FE-4E8C-BC0D-60759148F756}">
      <dsp:nvSpPr>
        <dsp:cNvPr id="0" name=""/>
        <dsp:cNvSpPr/>
      </dsp:nvSpPr>
      <dsp:spPr>
        <a:xfrm>
          <a:off x="1664431" y="480514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 dirty="0"/>
            <a:t>Do </a:t>
          </a:r>
        </a:p>
      </dsp:txBody>
      <dsp:txXfrm>
        <a:off x="1730580" y="546663"/>
        <a:ext cx="319399" cy="319399"/>
      </dsp:txXfrm>
    </dsp:sp>
    <dsp:sp modelId="{581C9726-5A27-4B07-8624-113A383372EC}">
      <dsp:nvSpPr>
        <dsp:cNvPr id="0" name=""/>
        <dsp:cNvSpPr/>
      </dsp:nvSpPr>
      <dsp:spPr>
        <a:xfrm rot="8100000">
          <a:off x="1592411" y="867781"/>
          <a:ext cx="120454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 rot="10800000">
        <a:off x="1623255" y="885494"/>
        <a:ext cx="84318" cy="91469"/>
      </dsp:txXfrm>
    </dsp:sp>
    <dsp:sp modelId="{ED7C4EC7-7045-4B42-A84F-75C8029A3E63}">
      <dsp:nvSpPr>
        <dsp:cNvPr id="0" name=""/>
        <dsp:cNvSpPr/>
      </dsp:nvSpPr>
      <dsp:spPr>
        <a:xfrm>
          <a:off x="1184327" y="960619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/>
            <a:t>Study </a:t>
          </a:r>
        </a:p>
      </dsp:txBody>
      <dsp:txXfrm>
        <a:off x="1250476" y="1026768"/>
        <a:ext cx="319399" cy="319399"/>
      </dsp:txXfrm>
    </dsp:sp>
    <dsp:sp modelId="{037730D9-676D-4162-92A7-B1B2066E9B35}">
      <dsp:nvSpPr>
        <dsp:cNvPr id="0" name=""/>
        <dsp:cNvSpPr/>
      </dsp:nvSpPr>
      <dsp:spPr>
        <a:xfrm rot="13500000">
          <a:off x="1112306" y="872602"/>
          <a:ext cx="120454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 rot="10800000">
        <a:off x="1143150" y="915867"/>
        <a:ext cx="84318" cy="91469"/>
      </dsp:txXfrm>
    </dsp:sp>
    <dsp:sp modelId="{C451CBA9-605F-473B-A3FF-ED2376DD2BD9}">
      <dsp:nvSpPr>
        <dsp:cNvPr id="0" name=""/>
        <dsp:cNvSpPr/>
      </dsp:nvSpPr>
      <dsp:spPr>
        <a:xfrm>
          <a:off x="704223" y="480515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/>
            <a:t>Act</a:t>
          </a:r>
        </a:p>
      </dsp:txBody>
      <dsp:txXfrm>
        <a:off x="770372" y="546664"/>
        <a:ext cx="319399" cy="319399"/>
      </dsp:txXfrm>
    </dsp:sp>
    <dsp:sp modelId="{3B612EC5-477B-405C-959D-6D85AD954649}">
      <dsp:nvSpPr>
        <dsp:cNvPr id="0" name=""/>
        <dsp:cNvSpPr/>
      </dsp:nvSpPr>
      <dsp:spPr>
        <a:xfrm rot="18900000">
          <a:off x="1107485" y="392498"/>
          <a:ext cx="120454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>
        <a:off x="1112777" y="435763"/>
        <a:ext cx="84318" cy="914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7B9AA6-EF78-4764-8AD7-4C2E15617DED}">
      <dsp:nvSpPr>
        <dsp:cNvPr id="0" name=""/>
        <dsp:cNvSpPr/>
      </dsp:nvSpPr>
      <dsp:spPr>
        <a:xfrm>
          <a:off x="1396587" y="0"/>
          <a:ext cx="5026869" cy="5026869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7D8823-1D05-4A9A-A73B-C0103D8556A6}">
      <dsp:nvSpPr>
        <dsp:cNvPr id="0" name=""/>
        <dsp:cNvSpPr/>
      </dsp:nvSpPr>
      <dsp:spPr>
        <a:xfrm>
          <a:off x="1883691" y="477552"/>
          <a:ext cx="1960478" cy="19604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600" kern="1200" dirty="0"/>
            <a:t>Processer, rutiner och systematiskt kvalitetsarbete</a:t>
          </a:r>
        </a:p>
      </dsp:txBody>
      <dsp:txXfrm>
        <a:off x="1979394" y="573255"/>
        <a:ext cx="1769072" cy="1769072"/>
      </dsp:txXfrm>
    </dsp:sp>
    <dsp:sp modelId="{BCE6E2C3-3358-4766-87FF-83B69FBE57A2}">
      <dsp:nvSpPr>
        <dsp:cNvPr id="0" name=""/>
        <dsp:cNvSpPr/>
      </dsp:nvSpPr>
      <dsp:spPr>
        <a:xfrm>
          <a:off x="3919576" y="472122"/>
          <a:ext cx="1960478" cy="19604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600" kern="1200" dirty="0"/>
            <a:t>Systematiskt vårdhygieniskt kvalitetsarbete i ledningssystem</a:t>
          </a:r>
        </a:p>
      </dsp:txBody>
      <dsp:txXfrm>
        <a:off x="4015279" y="567825"/>
        <a:ext cx="1769072" cy="1769072"/>
      </dsp:txXfrm>
    </dsp:sp>
    <dsp:sp modelId="{1060F0C6-3158-44B1-863A-FEE7F19B5B88}">
      <dsp:nvSpPr>
        <dsp:cNvPr id="0" name=""/>
        <dsp:cNvSpPr/>
      </dsp:nvSpPr>
      <dsp:spPr>
        <a:xfrm>
          <a:off x="1883691" y="2588837"/>
          <a:ext cx="1960478" cy="19604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600" kern="1200" dirty="0"/>
            <a:t>Verksamhet uppfyller krav och mål Patientsäkerhet och god hygienisk standard upprätthålls</a:t>
          </a:r>
        </a:p>
      </dsp:txBody>
      <dsp:txXfrm>
        <a:off x="1979394" y="2684540"/>
        <a:ext cx="1769072" cy="1769072"/>
      </dsp:txXfrm>
    </dsp:sp>
    <dsp:sp modelId="{BD160F8A-B3C7-4D9C-B88F-02D81A104A51}">
      <dsp:nvSpPr>
        <dsp:cNvPr id="0" name=""/>
        <dsp:cNvSpPr/>
      </dsp:nvSpPr>
      <dsp:spPr>
        <a:xfrm>
          <a:off x="3994976" y="2588837"/>
          <a:ext cx="1960478" cy="19604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600" kern="1200" dirty="0"/>
            <a:t>Regelbunden mätning, utvärdering, återkoppling och uppföljning på flera nivåer</a:t>
          </a:r>
        </a:p>
      </dsp:txBody>
      <dsp:txXfrm>
        <a:off x="4090679" y="2684540"/>
        <a:ext cx="1769072" cy="176907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E91D85-A7E5-4E15-B3FC-A8D605540757}">
      <dsp:nvSpPr>
        <dsp:cNvPr id="0" name=""/>
        <dsp:cNvSpPr/>
      </dsp:nvSpPr>
      <dsp:spPr>
        <a:xfrm>
          <a:off x="1184327" y="410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/>
            <a:t>Plan </a:t>
          </a:r>
        </a:p>
      </dsp:txBody>
      <dsp:txXfrm>
        <a:off x="1250476" y="66559"/>
        <a:ext cx="319399" cy="319399"/>
      </dsp:txXfrm>
    </dsp:sp>
    <dsp:sp modelId="{85B0733E-E5A0-4830-85DC-EABBC9C2FBD2}">
      <dsp:nvSpPr>
        <dsp:cNvPr id="0" name=""/>
        <dsp:cNvSpPr/>
      </dsp:nvSpPr>
      <dsp:spPr>
        <a:xfrm rot="2700000">
          <a:off x="1587590" y="387676"/>
          <a:ext cx="120454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>
        <a:off x="1592882" y="405389"/>
        <a:ext cx="84318" cy="91469"/>
      </dsp:txXfrm>
    </dsp:sp>
    <dsp:sp modelId="{D0C417A6-F9FE-4E8C-BC0D-60759148F756}">
      <dsp:nvSpPr>
        <dsp:cNvPr id="0" name=""/>
        <dsp:cNvSpPr/>
      </dsp:nvSpPr>
      <dsp:spPr>
        <a:xfrm>
          <a:off x="1664431" y="480514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/>
            <a:t>Do </a:t>
          </a:r>
        </a:p>
      </dsp:txBody>
      <dsp:txXfrm>
        <a:off x="1730580" y="546663"/>
        <a:ext cx="319399" cy="319399"/>
      </dsp:txXfrm>
    </dsp:sp>
    <dsp:sp modelId="{581C9726-5A27-4B07-8624-113A383372EC}">
      <dsp:nvSpPr>
        <dsp:cNvPr id="0" name=""/>
        <dsp:cNvSpPr/>
      </dsp:nvSpPr>
      <dsp:spPr>
        <a:xfrm rot="8100000">
          <a:off x="1592411" y="867781"/>
          <a:ext cx="120454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 rot="10800000">
        <a:off x="1623255" y="885494"/>
        <a:ext cx="84318" cy="91469"/>
      </dsp:txXfrm>
    </dsp:sp>
    <dsp:sp modelId="{ED7C4EC7-7045-4B42-A84F-75C8029A3E63}">
      <dsp:nvSpPr>
        <dsp:cNvPr id="0" name=""/>
        <dsp:cNvSpPr/>
      </dsp:nvSpPr>
      <dsp:spPr>
        <a:xfrm>
          <a:off x="1184327" y="960619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/>
            <a:t>Study </a:t>
          </a:r>
        </a:p>
      </dsp:txBody>
      <dsp:txXfrm>
        <a:off x="1250476" y="1026768"/>
        <a:ext cx="319399" cy="319399"/>
      </dsp:txXfrm>
    </dsp:sp>
    <dsp:sp modelId="{037730D9-676D-4162-92A7-B1B2066E9B35}">
      <dsp:nvSpPr>
        <dsp:cNvPr id="0" name=""/>
        <dsp:cNvSpPr/>
      </dsp:nvSpPr>
      <dsp:spPr>
        <a:xfrm rot="13500000">
          <a:off x="1112306" y="872602"/>
          <a:ext cx="120454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 rot="10800000">
        <a:off x="1143150" y="915867"/>
        <a:ext cx="84318" cy="91469"/>
      </dsp:txXfrm>
    </dsp:sp>
    <dsp:sp modelId="{C451CBA9-605F-473B-A3FF-ED2376DD2BD9}">
      <dsp:nvSpPr>
        <dsp:cNvPr id="0" name=""/>
        <dsp:cNvSpPr/>
      </dsp:nvSpPr>
      <dsp:spPr>
        <a:xfrm>
          <a:off x="704223" y="480515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/>
            <a:t>Act</a:t>
          </a:r>
        </a:p>
      </dsp:txBody>
      <dsp:txXfrm>
        <a:off x="770372" y="546664"/>
        <a:ext cx="319399" cy="319399"/>
      </dsp:txXfrm>
    </dsp:sp>
    <dsp:sp modelId="{3B612EC5-477B-405C-959D-6D85AD954649}">
      <dsp:nvSpPr>
        <dsp:cNvPr id="0" name=""/>
        <dsp:cNvSpPr/>
      </dsp:nvSpPr>
      <dsp:spPr>
        <a:xfrm rot="18900000">
          <a:off x="1107485" y="392498"/>
          <a:ext cx="120454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>
        <a:off x="1112777" y="435763"/>
        <a:ext cx="84318" cy="9146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7B9AA6-EF78-4764-8AD7-4C2E15617DED}">
      <dsp:nvSpPr>
        <dsp:cNvPr id="0" name=""/>
        <dsp:cNvSpPr/>
      </dsp:nvSpPr>
      <dsp:spPr>
        <a:xfrm>
          <a:off x="1182785" y="0"/>
          <a:ext cx="4753334" cy="4753334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7D8823-1D05-4A9A-A73B-C0103D8556A6}">
      <dsp:nvSpPr>
        <dsp:cNvPr id="0" name=""/>
        <dsp:cNvSpPr/>
      </dsp:nvSpPr>
      <dsp:spPr>
        <a:xfrm>
          <a:off x="1634352" y="451566"/>
          <a:ext cx="1853800" cy="1853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000" kern="1200" dirty="0"/>
            <a:t>Samla resultat från uppföljning på övergripande nivå</a:t>
          </a:r>
        </a:p>
      </dsp:txBody>
      <dsp:txXfrm>
        <a:off x="1724847" y="542061"/>
        <a:ext cx="1672810" cy="1672810"/>
      </dsp:txXfrm>
    </dsp:sp>
    <dsp:sp modelId="{BCE6E2C3-3358-4766-87FF-83B69FBE57A2}">
      <dsp:nvSpPr>
        <dsp:cNvPr id="0" name=""/>
        <dsp:cNvSpPr/>
      </dsp:nvSpPr>
      <dsp:spPr>
        <a:xfrm>
          <a:off x="3630752" y="451566"/>
          <a:ext cx="1853800" cy="1853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000" kern="1200"/>
            <a:t>Egenkontroll, riskanalys, handlingsplan och åtgärder</a:t>
          </a:r>
          <a:endParaRPr lang="sv-SE" sz="2000" kern="1200" dirty="0"/>
        </a:p>
      </dsp:txBody>
      <dsp:txXfrm>
        <a:off x="3721247" y="542061"/>
        <a:ext cx="1672810" cy="1672810"/>
      </dsp:txXfrm>
    </dsp:sp>
    <dsp:sp modelId="{1060F0C6-3158-44B1-863A-FEE7F19B5B88}">
      <dsp:nvSpPr>
        <dsp:cNvPr id="0" name=""/>
        <dsp:cNvSpPr/>
      </dsp:nvSpPr>
      <dsp:spPr>
        <a:xfrm>
          <a:off x="1634352" y="2447967"/>
          <a:ext cx="1853800" cy="1853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000" kern="1200" dirty="0"/>
            <a:t>Lärande organisation</a:t>
          </a:r>
        </a:p>
      </dsp:txBody>
      <dsp:txXfrm>
        <a:off x="1724847" y="2538462"/>
        <a:ext cx="1672810" cy="1672810"/>
      </dsp:txXfrm>
    </dsp:sp>
    <dsp:sp modelId="{BD160F8A-B3C7-4D9C-B88F-02D81A104A51}">
      <dsp:nvSpPr>
        <dsp:cNvPr id="0" name=""/>
        <dsp:cNvSpPr/>
      </dsp:nvSpPr>
      <dsp:spPr>
        <a:xfrm>
          <a:off x="3630752" y="2447967"/>
          <a:ext cx="1853800" cy="1853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000" kern="1200" dirty="0"/>
            <a:t>Brist – analysera, utred och åtgärda</a:t>
          </a:r>
        </a:p>
      </dsp:txBody>
      <dsp:txXfrm>
        <a:off x="3721247" y="2538462"/>
        <a:ext cx="1672810" cy="167281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E91D85-A7E5-4E15-B3FC-A8D605540757}">
      <dsp:nvSpPr>
        <dsp:cNvPr id="0" name=""/>
        <dsp:cNvSpPr/>
      </dsp:nvSpPr>
      <dsp:spPr>
        <a:xfrm>
          <a:off x="1135934" y="38681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/>
            <a:t>Plan </a:t>
          </a:r>
        </a:p>
      </dsp:txBody>
      <dsp:txXfrm>
        <a:off x="1202083" y="104830"/>
        <a:ext cx="319399" cy="319399"/>
      </dsp:txXfrm>
    </dsp:sp>
    <dsp:sp modelId="{85B0733E-E5A0-4830-85DC-EABBC9C2FBD2}">
      <dsp:nvSpPr>
        <dsp:cNvPr id="0" name=""/>
        <dsp:cNvSpPr/>
      </dsp:nvSpPr>
      <dsp:spPr>
        <a:xfrm rot="2393776">
          <a:off x="1560454" y="406941"/>
          <a:ext cx="125695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>
        <a:off x="1564843" y="425337"/>
        <a:ext cx="87987" cy="91469"/>
      </dsp:txXfrm>
    </dsp:sp>
    <dsp:sp modelId="{D0C417A6-F9FE-4E8C-BC0D-60759148F756}">
      <dsp:nvSpPr>
        <dsp:cNvPr id="0" name=""/>
        <dsp:cNvSpPr/>
      </dsp:nvSpPr>
      <dsp:spPr>
        <a:xfrm>
          <a:off x="1664431" y="480514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/>
            <a:t>Do </a:t>
          </a:r>
        </a:p>
      </dsp:txBody>
      <dsp:txXfrm>
        <a:off x="1730580" y="546663"/>
        <a:ext cx="319399" cy="319399"/>
      </dsp:txXfrm>
    </dsp:sp>
    <dsp:sp modelId="{581C9726-5A27-4B07-8624-113A383372EC}">
      <dsp:nvSpPr>
        <dsp:cNvPr id="0" name=""/>
        <dsp:cNvSpPr/>
      </dsp:nvSpPr>
      <dsp:spPr>
        <a:xfrm rot="8100000">
          <a:off x="1592411" y="867781"/>
          <a:ext cx="120454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 rot="10800000">
        <a:off x="1623255" y="885494"/>
        <a:ext cx="84318" cy="91469"/>
      </dsp:txXfrm>
    </dsp:sp>
    <dsp:sp modelId="{ED7C4EC7-7045-4B42-A84F-75C8029A3E63}">
      <dsp:nvSpPr>
        <dsp:cNvPr id="0" name=""/>
        <dsp:cNvSpPr/>
      </dsp:nvSpPr>
      <dsp:spPr>
        <a:xfrm>
          <a:off x="1184327" y="960619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/>
            <a:t>Study </a:t>
          </a:r>
        </a:p>
      </dsp:txBody>
      <dsp:txXfrm>
        <a:off x="1250476" y="1026768"/>
        <a:ext cx="319399" cy="319399"/>
      </dsp:txXfrm>
    </dsp:sp>
    <dsp:sp modelId="{037730D9-676D-4162-92A7-B1B2066E9B35}">
      <dsp:nvSpPr>
        <dsp:cNvPr id="0" name=""/>
        <dsp:cNvSpPr/>
      </dsp:nvSpPr>
      <dsp:spPr>
        <a:xfrm rot="13500000">
          <a:off x="1112306" y="872602"/>
          <a:ext cx="120454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 rot="10800000">
        <a:off x="1143150" y="915867"/>
        <a:ext cx="84318" cy="91469"/>
      </dsp:txXfrm>
    </dsp:sp>
    <dsp:sp modelId="{C451CBA9-605F-473B-A3FF-ED2376DD2BD9}">
      <dsp:nvSpPr>
        <dsp:cNvPr id="0" name=""/>
        <dsp:cNvSpPr/>
      </dsp:nvSpPr>
      <dsp:spPr>
        <a:xfrm>
          <a:off x="704223" y="480515"/>
          <a:ext cx="451697" cy="4516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000" kern="1200"/>
            <a:t>Act</a:t>
          </a:r>
        </a:p>
      </dsp:txBody>
      <dsp:txXfrm>
        <a:off x="770372" y="546664"/>
        <a:ext cx="319399" cy="319399"/>
      </dsp:txXfrm>
    </dsp:sp>
    <dsp:sp modelId="{3B612EC5-477B-405C-959D-6D85AD954649}">
      <dsp:nvSpPr>
        <dsp:cNvPr id="0" name=""/>
        <dsp:cNvSpPr/>
      </dsp:nvSpPr>
      <dsp:spPr>
        <a:xfrm rot="18860169">
          <a:off x="1100187" y="411004"/>
          <a:ext cx="87998" cy="1524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600" kern="1200"/>
        </a:p>
      </dsp:txBody>
      <dsp:txXfrm>
        <a:off x="1104162" y="450934"/>
        <a:ext cx="61599" cy="9146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2BF510-8C8C-4924-865C-63FC04E0C5E0}">
      <dsp:nvSpPr>
        <dsp:cNvPr id="0" name=""/>
        <dsp:cNvSpPr/>
      </dsp:nvSpPr>
      <dsp:spPr>
        <a:xfrm>
          <a:off x="0" y="1371599"/>
          <a:ext cx="8620217" cy="1828800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CFE2A4-A4B3-412E-9C13-ED8270D7EBF1}">
      <dsp:nvSpPr>
        <dsp:cNvPr id="0" name=""/>
        <dsp:cNvSpPr/>
      </dsp:nvSpPr>
      <dsp:spPr>
        <a:xfrm>
          <a:off x="3788" y="0"/>
          <a:ext cx="2500199" cy="1828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b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800" kern="1200" dirty="0"/>
            <a:t>Huvudman – lokaler anpassas till de hygienkrav som ställs på verksamheten</a:t>
          </a:r>
        </a:p>
      </dsp:txBody>
      <dsp:txXfrm>
        <a:off x="3788" y="0"/>
        <a:ext cx="2500199" cy="1828800"/>
      </dsp:txXfrm>
    </dsp:sp>
    <dsp:sp modelId="{469C6E21-3083-47C6-B7F6-4070C5F3F38B}">
      <dsp:nvSpPr>
        <dsp:cNvPr id="0" name=""/>
        <dsp:cNvSpPr/>
      </dsp:nvSpPr>
      <dsp:spPr>
        <a:xfrm>
          <a:off x="1025288" y="2057400"/>
          <a:ext cx="457200" cy="45720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116DCA-2D84-4EF3-8381-5585CE013E1F}">
      <dsp:nvSpPr>
        <dsp:cNvPr id="0" name=""/>
        <dsp:cNvSpPr/>
      </dsp:nvSpPr>
      <dsp:spPr>
        <a:xfrm>
          <a:off x="2628997" y="2743199"/>
          <a:ext cx="2500199" cy="1828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800" kern="1200" dirty="0"/>
            <a:t>Huvudman – vårdhygieniska krav ställs i upphandlingar, vårdhygienisk expertis är sakkunnig</a:t>
          </a:r>
        </a:p>
      </dsp:txBody>
      <dsp:txXfrm>
        <a:off x="2628997" y="2743199"/>
        <a:ext cx="2500199" cy="1828800"/>
      </dsp:txXfrm>
    </dsp:sp>
    <dsp:sp modelId="{EA18E1EE-EBF9-43CB-80DD-ADAE9160E61F}">
      <dsp:nvSpPr>
        <dsp:cNvPr id="0" name=""/>
        <dsp:cNvSpPr/>
      </dsp:nvSpPr>
      <dsp:spPr>
        <a:xfrm>
          <a:off x="3650497" y="2057400"/>
          <a:ext cx="457200" cy="45720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608C69-B289-4BD9-8239-ED5D0FA38110}">
      <dsp:nvSpPr>
        <dsp:cNvPr id="0" name=""/>
        <dsp:cNvSpPr/>
      </dsp:nvSpPr>
      <dsp:spPr>
        <a:xfrm>
          <a:off x="5254207" y="0"/>
          <a:ext cx="2500199" cy="1828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b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800" kern="1200" dirty="0"/>
            <a:t>Huvudman – vårdhygieniska krav ställs vid ny- och ombyggnation, vårdhygienisk expertis är sakkunnig</a:t>
          </a:r>
        </a:p>
      </dsp:txBody>
      <dsp:txXfrm>
        <a:off x="5254207" y="0"/>
        <a:ext cx="2500199" cy="1828800"/>
      </dsp:txXfrm>
    </dsp:sp>
    <dsp:sp modelId="{EAEC2216-9875-4B32-AA40-F474537C201E}">
      <dsp:nvSpPr>
        <dsp:cNvPr id="0" name=""/>
        <dsp:cNvSpPr/>
      </dsp:nvSpPr>
      <dsp:spPr>
        <a:xfrm>
          <a:off x="6275707" y="2057400"/>
          <a:ext cx="457200" cy="45720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EB7BA7-7B8F-485D-A70C-E6F7464D6D20}">
      <dsp:nvSpPr>
        <dsp:cNvPr id="0" name=""/>
        <dsp:cNvSpPr/>
      </dsp:nvSpPr>
      <dsp:spPr>
        <a:xfrm>
          <a:off x="0" y="1339640"/>
          <a:ext cx="10491537" cy="1786187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70C6EA-5B85-44E4-8C0D-C167408A0C75}">
      <dsp:nvSpPr>
        <dsp:cNvPr id="0" name=""/>
        <dsp:cNvSpPr/>
      </dsp:nvSpPr>
      <dsp:spPr>
        <a:xfrm>
          <a:off x="679395" y="0"/>
          <a:ext cx="1427902" cy="17861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b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600" kern="1200" dirty="0"/>
            <a:t>Vårdgivare – vård, omsorg bedrivs i lokaler anpassade till hygienkrav</a:t>
          </a:r>
        </a:p>
      </dsp:txBody>
      <dsp:txXfrm>
        <a:off x="679395" y="0"/>
        <a:ext cx="1427902" cy="1786187"/>
      </dsp:txXfrm>
    </dsp:sp>
    <dsp:sp modelId="{946CDBF2-0EE3-4856-99B1-ACA1FDB77AFF}">
      <dsp:nvSpPr>
        <dsp:cNvPr id="0" name=""/>
        <dsp:cNvSpPr/>
      </dsp:nvSpPr>
      <dsp:spPr>
        <a:xfrm>
          <a:off x="1202297" y="2041684"/>
          <a:ext cx="382098" cy="3820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2FC76B-15E4-4AE1-AEBA-5E29AD2BDB3C}">
      <dsp:nvSpPr>
        <dsp:cNvPr id="0" name=""/>
        <dsp:cNvSpPr/>
      </dsp:nvSpPr>
      <dsp:spPr>
        <a:xfrm>
          <a:off x="2126403" y="2679280"/>
          <a:ext cx="1776004" cy="17861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600" kern="1200" dirty="0"/>
            <a:t>Vårdgivare – vattenförsörjning säkras</a:t>
          </a:r>
        </a:p>
      </dsp:txBody>
      <dsp:txXfrm>
        <a:off x="2126403" y="2679280"/>
        <a:ext cx="1776004" cy="1786187"/>
      </dsp:txXfrm>
    </dsp:sp>
    <dsp:sp modelId="{E4B3E6C6-93E5-4FFD-BE20-BE07EEFE2067}">
      <dsp:nvSpPr>
        <dsp:cNvPr id="0" name=""/>
        <dsp:cNvSpPr/>
      </dsp:nvSpPr>
      <dsp:spPr>
        <a:xfrm>
          <a:off x="2823355" y="2041684"/>
          <a:ext cx="382098" cy="3820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B7926A-78A8-4D03-88DC-A014F98CEB15}">
      <dsp:nvSpPr>
        <dsp:cNvPr id="0" name=""/>
        <dsp:cNvSpPr/>
      </dsp:nvSpPr>
      <dsp:spPr>
        <a:xfrm>
          <a:off x="3921512" y="0"/>
          <a:ext cx="1451292" cy="17861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b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600" kern="1200" dirty="0"/>
            <a:t>Vårdgivare – rengöring, desinfektion och sterilisering av utrustning</a:t>
          </a:r>
        </a:p>
      </dsp:txBody>
      <dsp:txXfrm>
        <a:off x="3921512" y="0"/>
        <a:ext cx="1451292" cy="1786187"/>
      </dsp:txXfrm>
    </dsp:sp>
    <dsp:sp modelId="{21C2E84C-A6F6-4FE2-AEDF-3FB3C60FED7C}">
      <dsp:nvSpPr>
        <dsp:cNvPr id="0" name=""/>
        <dsp:cNvSpPr/>
      </dsp:nvSpPr>
      <dsp:spPr>
        <a:xfrm>
          <a:off x="4456109" y="2041684"/>
          <a:ext cx="382098" cy="3820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6958F0-1F36-4CF4-A816-78503D7503EF}">
      <dsp:nvSpPr>
        <dsp:cNvPr id="0" name=""/>
        <dsp:cNvSpPr/>
      </dsp:nvSpPr>
      <dsp:spPr>
        <a:xfrm>
          <a:off x="5391909" y="2679280"/>
          <a:ext cx="1621630" cy="17861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600" kern="1200" dirty="0"/>
            <a:t>Vårdgivare – städning, avfall</a:t>
          </a:r>
        </a:p>
      </dsp:txBody>
      <dsp:txXfrm>
        <a:off x="5391909" y="2679280"/>
        <a:ext cx="1621630" cy="1786187"/>
      </dsp:txXfrm>
    </dsp:sp>
    <dsp:sp modelId="{8B5655EC-DEC4-4D93-9C90-597C8E84D3D5}">
      <dsp:nvSpPr>
        <dsp:cNvPr id="0" name=""/>
        <dsp:cNvSpPr/>
      </dsp:nvSpPr>
      <dsp:spPr>
        <a:xfrm>
          <a:off x="6011675" y="2041684"/>
          <a:ext cx="382098" cy="3820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B6AD85-945E-4973-8A16-CA3175C53E2C}">
      <dsp:nvSpPr>
        <dsp:cNvPr id="0" name=""/>
        <dsp:cNvSpPr/>
      </dsp:nvSpPr>
      <dsp:spPr>
        <a:xfrm>
          <a:off x="7032645" y="0"/>
          <a:ext cx="1730342" cy="17861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b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600" kern="1200" dirty="0"/>
            <a:t>Verksamhetschef – förutsättningar att följa föreskrift om Basal Hygien</a:t>
          </a:r>
        </a:p>
      </dsp:txBody>
      <dsp:txXfrm>
        <a:off x="7032645" y="0"/>
        <a:ext cx="1730342" cy="1786187"/>
      </dsp:txXfrm>
    </dsp:sp>
    <dsp:sp modelId="{406827F4-837C-404D-9F9D-D2460B34FCBC}">
      <dsp:nvSpPr>
        <dsp:cNvPr id="0" name=""/>
        <dsp:cNvSpPr/>
      </dsp:nvSpPr>
      <dsp:spPr>
        <a:xfrm>
          <a:off x="7706767" y="2041684"/>
          <a:ext cx="382098" cy="3820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B1D996-4FB1-414B-8C87-729134353AA1}">
      <dsp:nvSpPr>
        <dsp:cNvPr id="0" name=""/>
        <dsp:cNvSpPr/>
      </dsp:nvSpPr>
      <dsp:spPr>
        <a:xfrm>
          <a:off x="0" y="3"/>
          <a:ext cx="7812616" cy="82359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1E79AC-D8B4-4A9D-A45D-712EEAD296A3}">
      <dsp:nvSpPr>
        <dsp:cNvPr id="0" name=""/>
        <dsp:cNvSpPr/>
      </dsp:nvSpPr>
      <dsp:spPr>
        <a:xfrm>
          <a:off x="249137" y="189175"/>
          <a:ext cx="452976" cy="45297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43BBB9-EA0B-41F2-919B-40F8F75446C9}">
      <dsp:nvSpPr>
        <dsp:cNvPr id="0" name=""/>
        <dsp:cNvSpPr/>
      </dsp:nvSpPr>
      <dsp:spPr>
        <a:xfrm>
          <a:off x="951250" y="3866"/>
          <a:ext cx="6861365" cy="82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164" tIns="87164" rIns="87164" bIns="871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900" kern="1200" dirty="0"/>
            <a:t>Är vägledningens övergripande delar som adresserar huvudmannen implementerade i din region eller kommun?</a:t>
          </a:r>
        </a:p>
      </dsp:txBody>
      <dsp:txXfrm>
        <a:off x="951250" y="3866"/>
        <a:ext cx="6861365" cy="823593"/>
      </dsp:txXfrm>
    </dsp:sp>
    <dsp:sp modelId="{7220E623-F9E7-46E5-9223-58F29D47AD71}">
      <dsp:nvSpPr>
        <dsp:cNvPr id="0" name=""/>
        <dsp:cNvSpPr/>
      </dsp:nvSpPr>
      <dsp:spPr>
        <a:xfrm>
          <a:off x="0" y="1033358"/>
          <a:ext cx="7812616" cy="82359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294C60-6DE7-4721-AAD4-8A8FE7D7134B}">
      <dsp:nvSpPr>
        <dsp:cNvPr id="0" name=""/>
        <dsp:cNvSpPr/>
      </dsp:nvSpPr>
      <dsp:spPr>
        <a:xfrm>
          <a:off x="249137" y="1218667"/>
          <a:ext cx="452976" cy="45297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102C52-2426-449F-81BC-445708AE35D9}">
      <dsp:nvSpPr>
        <dsp:cNvPr id="0" name=""/>
        <dsp:cNvSpPr/>
      </dsp:nvSpPr>
      <dsp:spPr>
        <a:xfrm>
          <a:off x="951250" y="1033358"/>
          <a:ext cx="6861365" cy="82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164" tIns="87164" rIns="87164" bIns="871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900" kern="1200"/>
            <a:t>Finns delarna i vägledningen som handlar om vårdgivarens ansvar implementerade i din region eller kommun?</a:t>
          </a:r>
        </a:p>
      </dsp:txBody>
      <dsp:txXfrm>
        <a:off x="951250" y="1033358"/>
        <a:ext cx="6861365" cy="823593"/>
      </dsp:txXfrm>
    </dsp:sp>
    <dsp:sp modelId="{DD586CAF-F652-448B-8CD6-20DA65EE76C2}">
      <dsp:nvSpPr>
        <dsp:cNvPr id="0" name=""/>
        <dsp:cNvSpPr/>
      </dsp:nvSpPr>
      <dsp:spPr>
        <a:xfrm>
          <a:off x="0" y="2062851"/>
          <a:ext cx="7812616" cy="82359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EB446F-6C76-483A-A468-817EC43257EA}">
      <dsp:nvSpPr>
        <dsp:cNvPr id="0" name=""/>
        <dsp:cNvSpPr/>
      </dsp:nvSpPr>
      <dsp:spPr>
        <a:xfrm>
          <a:off x="249137" y="2248159"/>
          <a:ext cx="452976" cy="45297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88800A-81E0-4181-8DE2-F4948CF06D2F}">
      <dsp:nvSpPr>
        <dsp:cNvPr id="0" name=""/>
        <dsp:cNvSpPr/>
      </dsp:nvSpPr>
      <dsp:spPr>
        <a:xfrm>
          <a:off x="951250" y="2062851"/>
          <a:ext cx="6861365" cy="82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164" tIns="87164" rIns="87164" bIns="871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900" kern="1200" dirty="0"/>
            <a:t>Vilka delar i vägledningen finns redan på plats och vilka behöver du arbeta vidare med?</a:t>
          </a:r>
        </a:p>
      </dsp:txBody>
      <dsp:txXfrm>
        <a:off x="951250" y="2062851"/>
        <a:ext cx="6861365" cy="823593"/>
      </dsp:txXfrm>
    </dsp:sp>
    <dsp:sp modelId="{E5E93A44-1131-4D14-B79E-9FA998C6B151}">
      <dsp:nvSpPr>
        <dsp:cNvPr id="0" name=""/>
        <dsp:cNvSpPr/>
      </dsp:nvSpPr>
      <dsp:spPr>
        <a:xfrm>
          <a:off x="0" y="3092343"/>
          <a:ext cx="7812616" cy="82359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DECAC8-59B8-4739-A07A-01BA69512F76}">
      <dsp:nvSpPr>
        <dsp:cNvPr id="0" name=""/>
        <dsp:cNvSpPr/>
      </dsp:nvSpPr>
      <dsp:spPr>
        <a:xfrm>
          <a:off x="249137" y="3277651"/>
          <a:ext cx="452976" cy="45297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0C54F85-7815-4FFF-BD2D-0397C805FDC7}">
      <dsp:nvSpPr>
        <dsp:cNvPr id="0" name=""/>
        <dsp:cNvSpPr/>
      </dsp:nvSpPr>
      <dsp:spPr>
        <a:xfrm>
          <a:off x="951250" y="3092343"/>
          <a:ext cx="6861365" cy="82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164" tIns="87164" rIns="87164" bIns="871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900" kern="1200"/>
            <a:t>Vilka stödjande funktioner i din region eller kommun kan vara en del i implementeringsarbetet?</a:t>
          </a:r>
        </a:p>
      </dsp:txBody>
      <dsp:txXfrm>
        <a:off x="951250" y="3092343"/>
        <a:ext cx="6861365" cy="823593"/>
      </dsp:txXfrm>
    </dsp:sp>
    <dsp:sp modelId="{AFD118F9-C286-485E-B1B8-CD653679CFDD}">
      <dsp:nvSpPr>
        <dsp:cNvPr id="0" name=""/>
        <dsp:cNvSpPr/>
      </dsp:nvSpPr>
      <dsp:spPr>
        <a:xfrm>
          <a:off x="0" y="4121835"/>
          <a:ext cx="7812616" cy="823593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331811-53CF-4F65-A508-96F2939A11E6}">
      <dsp:nvSpPr>
        <dsp:cNvPr id="0" name=""/>
        <dsp:cNvSpPr/>
      </dsp:nvSpPr>
      <dsp:spPr>
        <a:xfrm>
          <a:off x="249137" y="4307144"/>
          <a:ext cx="452976" cy="45297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FDD8F4-973B-42BD-A920-14F8171CEF07}">
      <dsp:nvSpPr>
        <dsp:cNvPr id="0" name=""/>
        <dsp:cNvSpPr/>
      </dsp:nvSpPr>
      <dsp:spPr>
        <a:xfrm>
          <a:off x="951250" y="4121835"/>
          <a:ext cx="6861365" cy="823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164" tIns="87164" rIns="87164" bIns="871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900" kern="1200"/>
            <a:t>Kan checklistorna användas för att ge ett nuläge?</a:t>
          </a:r>
        </a:p>
      </dsp:txBody>
      <dsp:txXfrm>
        <a:off x="951250" y="4121835"/>
        <a:ext cx="6861365" cy="8235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8B022-DC1F-4193-86CA-B51B3C430124}" type="datetimeFigureOut">
              <a:rPr lang="sv-SE" smtClean="0"/>
              <a:t>2024-02-0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CB966F-B199-4816-8E0E-7869CDFC7B7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11585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E0832FA-2065-4BE0-969F-268B36F18BD8}" type="slidenum">
              <a:rPr lang="sv-SE" altLang="sv-SE" smtClean="0"/>
              <a:pPr>
                <a:defRPr/>
              </a:pPr>
              <a:t>4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40902137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CB966F-B199-4816-8E0E-7869CDFC7B7E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9767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CB966F-B199-4816-8E0E-7869CDFC7B7E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24691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sv-SE" sz="120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C938A5-EEC1-4C79-87E0-CB4E9E77E424}" type="slidenum">
              <a:rPr lang="sv-SE" smtClean="0"/>
              <a:pPr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426735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CB966F-B199-4816-8E0E-7869CDFC7B7E}" type="slidenum">
              <a:rPr lang="sv-SE" smtClean="0"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469409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CB966F-B199-4816-8E0E-7869CDFC7B7E}" type="slidenum">
              <a:rPr lang="sv-SE" smtClean="0"/>
              <a:t>2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1457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7F19F6FA-C315-406B-A333-7795FFDFF6E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3CC2EB-9A0C-4B5D-82FB-32351F22A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4966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3CC2EB-9A0C-4B5D-82FB-32351F22A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CA2FBE6-CCDF-4281-881A-D421423FBB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06302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68D9026-EC24-489E-9297-450EE657103E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88982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FB8F63-585E-4FD2-A00D-B373BAA02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310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FB8F63-585E-4FD2-A00D-B373BAA02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AEDF7B-0254-47B9-8037-3115DFCBFF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220584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7DF385-8AB3-4030-8B3D-C3621B915B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318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7DF385-8AB3-4030-8B3D-C3621B915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FAE191-98D3-4EC7-9DBE-598DE32A01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</a:t>
            </a:r>
            <a:r>
              <a:rPr lang="sv-SE" dirty="0" err="1"/>
              <a:t>char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62086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571D5A-7A96-4EBC-9C2E-67BEC03A70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8090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571D5A-7A96-4EBC-9C2E-67BEC03A7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</a:t>
            </a:r>
            <a:r>
              <a:rPr lang="sv-SE" dirty="0" err="1"/>
              <a:t>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08328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12BF161-8A21-45F1-9D1B-5D2D9DA831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101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12BF161-8A21-45F1-9D1B-5D2D9DA831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937293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244878-D6A5-4010-B8E9-72D341284C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4286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244878-D6A5-4010-B8E9-72D341284C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8457C0-50FA-41CC-BD89-927A51F366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</a:t>
            </a:r>
            <a:r>
              <a:rPr lang="sv-SE" dirty="0" err="1"/>
              <a:t>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192834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PRELIMINÄR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PRELIMINÄRT UTKAST 2020-01-28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D80BF-074B-4E55-B5AC-841B5F35CA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702784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13D756-E7E5-4D6C-912F-6325DD41AE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840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13D756-E7E5-4D6C-912F-6325DD41AE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1574CB2-43FA-4CFD-8CB3-B9447E48401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6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4713297" y="6553743"/>
            <a:ext cx="2743200" cy="365125"/>
          </a:xfrm>
        </p:spPr>
        <p:txBody>
          <a:bodyPr/>
          <a:lstStyle/>
          <a:p>
            <a:fld id="{330D80BF-074B-4E55-B5AC-841B5F35CA8C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sidfot 4">
            <a:extLst>
              <a:ext uri="{FF2B5EF4-FFF2-40B4-BE49-F238E27FC236}">
                <a16:creationId xmlns:a16="http://schemas.microsoft.com/office/drawing/2014/main" id="{1D61821B-9866-1449-879B-F9583EADB3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66280" y="6560185"/>
            <a:ext cx="4114800" cy="365125"/>
          </a:xfrm>
        </p:spPr>
        <p:txBody>
          <a:bodyPr/>
          <a:lstStyle/>
          <a:p>
            <a:r>
              <a:rPr lang="sv-SE" dirty="0"/>
              <a:t>PRELIMINÄRT UTKAST 20XX-XX-XX</a:t>
            </a:r>
          </a:p>
        </p:txBody>
      </p:sp>
    </p:spTree>
    <p:extLst>
      <p:ext uri="{BB962C8B-B14F-4D97-AF65-F5344CB8AC3E}">
        <p14:creationId xmlns:p14="http://schemas.microsoft.com/office/powerpoint/2010/main" val="4269296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ak koppling 2"/>
          <p:cNvCxnSpPr/>
          <p:nvPr userDrawn="1"/>
        </p:nvCxnSpPr>
        <p:spPr>
          <a:xfrm flipV="1">
            <a:off x="292100" y="942682"/>
            <a:ext cx="11493500" cy="3600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Rak koppling 4"/>
          <p:cNvCxnSpPr/>
          <p:nvPr userDrawn="1"/>
        </p:nvCxnSpPr>
        <p:spPr>
          <a:xfrm>
            <a:off x="1949571" y="160184"/>
            <a:ext cx="0" cy="717198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ruta 5"/>
          <p:cNvSpPr txBox="1"/>
          <p:nvPr userDrawn="1"/>
        </p:nvSpPr>
        <p:spPr>
          <a:xfrm>
            <a:off x="155276" y="57118"/>
            <a:ext cx="17770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400" b="1" dirty="0">
                <a:solidFill>
                  <a:schemeClr val="accent6">
                    <a:lumMod val="75000"/>
                  </a:schemeClr>
                </a:solidFill>
              </a:rPr>
              <a:t>Huvudprocess</a:t>
            </a:r>
          </a:p>
          <a:p>
            <a:pPr algn="ctr"/>
            <a:r>
              <a:rPr lang="sv-SE" sz="1400" b="1" dirty="0">
                <a:solidFill>
                  <a:schemeClr val="accent6">
                    <a:lumMod val="75000"/>
                  </a:schemeClr>
                </a:solidFill>
              </a:rPr>
              <a:t>Nationellt kliniskt kunskapsstöd</a:t>
            </a:r>
          </a:p>
          <a:p>
            <a:pPr algn="ctr"/>
            <a:r>
              <a:rPr lang="sv-SE" sz="1400" dirty="0">
                <a:solidFill>
                  <a:schemeClr val="accent6">
                    <a:lumMod val="75000"/>
                  </a:schemeClr>
                </a:solidFill>
              </a:rPr>
              <a:t>2023:3</a:t>
            </a:r>
          </a:p>
        </p:txBody>
      </p:sp>
      <p:sp>
        <p:nvSpPr>
          <p:cNvPr id="2" name="Ellips 1"/>
          <p:cNvSpPr/>
          <p:nvPr userDrawn="1"/>
        </p:nvSpPr>
        <p:spPr>
          <a:xfrm>
            <a:off x="155276" y="5702966"/>
            <a:ext cx="951629" cy="70661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textruta 8">
            <a:hlinkClick r:id="" action="ppaction://hlinkshowjump?jump=firstslide" tooltip="Ta mig tillbaka"/>
            <a:extLst>
              <a:ext uri="{FF2B5EF4-FFF2-40B4-BE49-F238E27FC236}">
                <a16:creationId xmlns:a16="http://schemas.microsoft.com/office/drawing/2014/main" id="{F7F3F3AC-8E4A-48A7-9322-EFAB529D7688}"/>
              </a:ext>
            </a:extLst>
          </p:cNvPr>
          <p:cNvSpPr txBox="1"/>
          <p:nvPr userDrawn="1"/>
        </p:nvSpPr>
        <p:spPr>
          <a:xfrm>
            <a:off x="239993" y="5840828"/>
            <a:ext cx="95162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dirty="0">
                <a:solidFill>
                  <a:schemeClr val="tx1"/>
                </a:solidFill>
              </a:rPr>
              <a:t>Ta mig till första sidan</a:t>
            </a:r>
          </a:p>
        </p:txBody>
      </p:sp>
      <p:sp>
        <p:nvSpPr>
          <p:cNvPr id="8" name="Ellips 7">
            <a:hlinkClick r:id="rId2" action="ppaction://hlinksldjump" tooltip="Ta mig tillbaka"/>
            <a:extLst>
              <a:ext uri="{FF2B5EF4-FFF2-40B4-BE49-F238E27FC236}">
                <a16:creationId xmlns:a16="http://schemas.microsoft.com/office/drawing/2014/main" id="{C0A4A62E-A12A-494C-B64A-BFBD29FBB820}"/>
              </a:ext>
            </a:extLst>
          </p:cNvPr>
          <p:cNvSpPr/>
          <p:nvPr userDrawn="1"/>
        </p:nvSpPr>
        <p:spPr>
          <a:xfrm>
            <a:off x="70558" y="5702966"/>
            <a:ext cx="1121064" cy="706613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64985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CC1059-5620-4EC1-A0CE-C828DCEE53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537028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DCC1059-5620-4EC1-A0CE-C828DCEE53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480"/>
                </a:lnSpc>
              </a:pPr>
              <a:r>
                <a:rPr lang="sv-SE" sz="140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82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82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5596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8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.png"/><Relationship Id="rId4" Type="http://schemas.openxmlformats.org/officeDocument/2006/relationships/hyperlink" Target="https://pxhere.com/sv/photo/545129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F28BA25-4BAB-E317-6B45-77E8E04529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39779" y="2372008"/>
            <a:ext cx="9144000" cy="2113983"/>
          </a:xfrm>
        </p:spPr>
        <p:txBody>
          <a:bodyPr/>
          <a:lstStyle/>
          <a:p>
            <a:pPr algn="ctr"/>
            <a:r>
              <a:rPr lang="sv-SE" dirty="0"/>
              <a:t>Vägledning för vårdhygieniskt arbete – anpassad för hälso- och sjukvård i Sveriges regioner och kommuner</a:t>
            </a:r>
          </a:p>
        </p:txBody>
      </p:sp>
    </p:spTree>
    <p:extLst>
      <p:ext uri="{BB962C8B-B14F-4D97-AF65-F5344CB8AC3E}">
        <p14:creationId xmlns:p14="http://schemas.microsoft.com/office/powerpoint/2010/main" val="29395162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0271252-E7F0-489F-90A8-8F5BC530AF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sv-SE" sz="2800" dirty="0"/>
              <a:t>Checklistor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0FA8932-A674-405B-84B5-95F7366EBB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23550" y="1614905"/>
            <a:ext cx="7646664" cy="4186238"/>
          </a:xfrm>
        </p:spPr>
        <p:txBody>
          <a:bodyPr>
            <a:normAutofit/>
          </a:bodyPr>
          <a:lstStyle/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800" dirty="0"/>
              <a:t>För varje område 1 – 8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800" dirty="0"/>
              <a:t>På nivåerna makro (huvudman) och </a:t>
            </a:r>
            <a:r>
              <a:rPr lang="sv-SE" sz="2800" dirty="0" err="1"/>
              <a:t>meso</a:t>
            </a:r>
            <a:r>
              <a:rPr lang="sv-SE" sz="2800" dirty="0"/>
              <a:t> (vårdgivare och verksamhetschef)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800" dirty="0"/>
              <a:t>En till sex ja- och nej-frågor per område och nivå</a:t>
            </a:r>
          </a:p>
        </p:txBody>
      </p:sp>
    </p:spTree>
    <p:extLst>
      <p:ext uri="{BB962C8B-B14F-4D97-AF65-F5344CB8AC3E}">
        <p14:creationId xmlns:p14="http://schemas.microsoft.com/office/powerpoint/2010/main" val="6918498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>
            <a:extLst>
              <a:ext uri="{FF2B5EF4-FFF2-40B4-BE49-F238E27FC236}">
                <a16:creationId xmlns:a16="http://schemas.microsoft.com/office/drawing/2014/main" id="{D02AA29F-E993-E5A7-341D-8ECDDC8BD655}"/>
              </a:ext>
            </a:extLst>
          </p:cNvPr>
          <p:cNvSpPr txBox="1"/>
          <p:nvPr/>
        </p:nvSpPr>
        <p:spPr>
          <a:xfrm>
            <a:off x="1773444" y="1029495"/>
            <a:ext cx="7934899" cy="52322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2000" b="1" dirty="0"/>
              <a:t>Makronivå</a:t>
            </a:r>
            <a:r>
              <a:rPr lang="sv-SE" sz="20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/>
              <a:t>Huvudmannen fastställer och uppdaterar en övergripande handlings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/>
              <a:t>Handlingsplanen inkluderar de aktiviteter som beskrivs under område två till åtta och uppföljning av dessa hos samtliga vårdgivare</a:t>
            </a:r>
          </a:p>
          <a:p>
            <a:endParaRPr lang="sv-SE" dirty="0"/>
          </a:p>
          <a:p>
            <a:r>
              <a:rPr lang="sv-SE" sz="2000" b="1" dirty="0" err="1"/>
              <a:t>Mesonivå</a:t>
            </a:r>
            <a:r>
              <a:rPr lang="sv-SE" sz="20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/>
              <a:t>Vårdgivaren upprättar en plan för att förebygga vårdrelaterade infektioner och smittsprid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/>
              <a:t>Ingår i Ledningssystemet för systematiskt kvalitetsarbete och innehåller aktiviteter inom områdena två </a:t>
            </a:r>
            <a:r>
              <a:rPr lang="sv-SE" sz="2000" dirty="0" err="1"/>
              <a:t>til</a:t>
            </a:r>
            <a:r>
              <a:rPr lang="sv-SE" sz="2000" dirty="0"/>
              <a:t> </a:t>
            </a:r>
            <a:r>
              <a:rPr lang="sv-SE" sz="2000" dirty="0" err="1"/>
              <a:t>låtta</a:t>
            </a:r>
            <a:endParaRPr lang="sv-SE" sz="2000" dirty="0"/>
          </a:p>
          <a:p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/>
              <a:t>Verksamhetschefen ansvarar för följsamheten till vårdgivarens handlings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r>
              <a:rPr lang="sv-SE" sz="2000" b="1" dirty="0"/>
              <a:t>Mikronivå</a:t>
            </a:r>
          </a:p>
          <a:p>
            <a:r>
              <a:rPr lang="sv-SE" sz="2000" b="1" dirty="0"/>
              <a:t>Individnivå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DC3411E5-E1EB-FCDF-6555-99192459F2EC}"/>
              </a:ext>
            </a:extLst>
          </p:cNvPr>
          <p:cNvSpPr txBox="1">
            <a:spLocks/>
          </p:cNvSpPr>
          <p:nvPr/>
        </p:nvSpPr>
        <p:spPr>
          <a:xfrm>
            <a:off x="1773444" y="419702"/>
            <a:ext cx="8717003" cy="609793"/>
          </a:xfrm>
          <a:prstGeom prst="rect">
            <a:avLst/>
          </a:prstGeom>
        </p:spPr>
        <p:txBody>
          <a:bodyPr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800" dirty="0"/>
              <a:t>1. Handlingsplan för att förebygga VRI och smittspridning </a:t>
            </a:r>
          </a:p>
        </p:txBody>
      </p:sp>
    </p:spTree>
    <p:extLst>
      <p:ext uri="{BB962C8B-B14F-4D97-AF65-F5344CB8AC3E}">
        <p14:creationId xmlns:p14="http://schemas.microsoft.com/office/powerpoint/2010/main" val="33923603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73E9CC-9193-DF3A-35C1-67F39CBD5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7513" y="383315"/>
            <a:ext cx="10115603" cy="629035"/>
          </a:xfrm>
        </p:spPr>
        <p:txBody>
          <a:bodyPr>
            <a:noAutofit/>
          </a:bodyPr>
          <a:lstStyle/>
          <a:p>
            <a:r>
              <a:rPr lang="sv-SE" sz="2800" dirty="0"/>
              <a:t>1. </a:t>
            </a:r>
            <a:r>
              <a:rPr lang="sv-SE" sz="3200" dirty="0"/>
              <a:t>Handlingsplan för att förebygga VRI och smittspridning 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CAD64EC-F83B-4A4C-EE3A-73428A1836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211" y="1240280"/>
            <a:ext cx="8758989" cy="4919887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sv-SE" sz="2200" b="1" dirty="0"/>
              <a:t>  Exempel på frågor från checklistan (</a:t>
            </a:r>
            <a:r>
              <a:rPr lang="sv-SE" sz="2200" b="1" dirty="0" err="1"/>
              <a:t>mesonivå</a:t>
            </a:r>
            <a:r>
              <a:rPr lang="sv-SE" sz="2200" b="1" dirty="0"/>
              <a:t>):</a:t>
            </a:r>
          </a:p>
          <a:p>
            <a:pPr marL="342900" lvl="1" indent="0">
              <a:spcAft>
                <a:spcPts val="600"/>
              </a:spcAft>
              <a:buNone/>
            </a:pPr>
            <a:r>
              <a:rPr lang="sv-SE" sz="2200" dirty="0"/>
              <a:t>1. Vårdgivaren har upprättat en plan för att förebygga vårdrelaterade infektioner och smittspridning med tydliga mål utifrån den regionala eller kommunala handlingsplanen.</a:t>
            </a:r>
          </a:p>
          <a:p>
            <a:pPr marL="342900" lvl="1" indent="0">
              <a:spcAft>
                <a:spcPts val="600"/>
              </a:spcAft>
              <a:buNone/>
            </a:pPr>
            <a:r>
              <a:rPr lang="sv-SE" sz="2200" dirty="0"/>
              <a:t>2. Vårdgivarens plan enligt punkt 1. ingår i Ledningssystem för systematiskt kvalitetsarbete (SOSFS 2011:9) innehåller aktiviteter inom område två till åtta.</a:t>
            </a:r>
          </a:p>
          <a:p>
            <a:pPr marL="342900" lvl="1" indent="0">
              <a:spcAft>
                <a:spcPts val="600"/>
              </a:spcAft>
              <a:buNone/>
            </a:pPr>
            <a:r>
              <a:rPr lang="sv-SE" sz="2200" dirty="0"/>
              <a:t>3. Vårdgivaren har säkerställt att verksamheterna har tillgång till vårdhygienisk expertis såväl i det förebyggande arbetet som vid akuta problem.</a:t>
            </a:r>
          </a:p>
          <a:p>
            <a:r>
              <a:rPr lang="sv-SE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23847362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A98A3195-B89E-D635-CB38-2D18AF02BEBA}"/>
              </a:ext>
            </a:extLst>
          </p:cNvPr>
          <p:cNvSpPr txBox="1">
            <a:spLocks/>
          </p:cNvSpPr>
          <p:nvPr/>
        </p:nvSpPr>
        <p:spPr>
          <a:xfrm>
            <a:off x="1406372" y="396190"/>
            <a:ext cx="8473562" cy="60979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v-SE" sz="2800" dirty="0"/>
              <a:t>2. Evidensbaserade styrande och stödjande dokument </a:t>
            </a:r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7733AB94-A9BD-7C8B-8480-B5732846EE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06372" y="1212504"/>
            <a:ext cx="8090053" cy="4829453"/>
          </a:xfrm>
        </p:spPr>
        <p:txBody>
          <a:bodyPr>
            <a:normAutofit fontScale="92500" lnSpcReduction="20000"/>
          </a:bodyPr>
          <a:lstStyle/>
          <a:p>
            <a:r>
              <a:rPr lang="sv-SE" sz="2200" b="1" dirty="0"/>
              <a:t>Makronivå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200" dirty="0"/>
              <a:t>Huvudmannen säkerställer att uppdaterade vårdhygieniska riktlinje finns tillgängliga och görs kända hos samtliga vårdgivar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200" dirty="0"/>
              <a:t>Riktlinjerna utarbetas av huvudmannen i samråd med vårdhygienisk expertis och fastställs av huvudmann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r>
              <a:rPr lang="sv-SE" sz="2200" b="1" dirty="0" err="1"/>
              <a:t>Mesonivå</a:t>
            </a:r>
            <a:r>
              <a:rPr lang="sv-SE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200" dirty="0"/>
              <a:t>Vårdgivaren, och i vissa delar den som bedriver omsorg, och dess verksamhetschefer ansvarar för att medarbetare och vårdhygienisk expertis är involverade i att ta fram, utveckla och anpassa lokala rutiner baserade på huvudmannens riktlinjer samt att de uppdaterade lokala rutinerna finns tillgängliga för alla medarbetar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r>
              <a:rPr lang="sv-SE" sz="2200" b="1" dirty="0"/>
              <a:t>Mikronivå</a:t>
            </a:r>
          </a:p>
          <a:p>
            <a:r>
              <a:rPr lang="sv-SE" sz="2200" b="1" dirty="0"/>
              <a:t>Individnivå</a:t>
            </a:r>
          </a:p>
        </p:txBody>
      </p:sp>
    </p:spTree>
    <p:extLst>
      <p:ext uri="{BB962C8B-B14F-4D97-AF65-F5344CB8AC3E}">
        <p14:creationId xmlns:p14="http://schemas.microsoft.com/office/powerpoint/2010/main" val="37158901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EF957FB-AFFF-F4E1-D08C-06BDCF3708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62343" y="677764"/>
            <a:ext cx="8540319" cy="609793"/>
          </a:xfrm>
        </p:spPr>
        <p:txBody>
          <a:bodyPr>
            <a:noAutofit/>
          </a:bodyPr>
          <a:lstStyle/>
          <a:p>
            <a:r>
              <a:rPr lang="sv-SE" sz="2800" dirty="0"/>
              <a:t>2. Evidensbaserade styrande och stödjande dokument 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D3F826E4-A402-5DE8-4501-645B7DDFCA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44113" y="1535838"/>
            <a:ext cx="8540319" cy="4339501"/>
          </a:xfrm>
        </p:spPr>
        <p:txBody>
          <a:bodyPr>
            <a:normAutofit fontScale="92500" lnSpcReduction="20000"/>
          </a:bodyPr>
          <a:lstStyle/>
          <a:p>
            <a:pPr>
              <a:spcAft>
                <a:spcPts val="1200"/>
              </a:spcAft>
            </a:pPr>
            <a:r>
              <a:rPr lang="sv-SE" b="1" dirty="0"/>
              <a:t>     Exempel på frågor från checklistan (</a:t>
            </a:r>
            <a:r>
              <a:rPr lang="sv-SE" b="1" dirty="0" err="1"/>
              <a:t>mesonivå</a:t>
            </a:r>
            <a:r>
              <a:rPr lang="sv-SE" b="1" dirty="0"/>
              <a:t>):</a:t>
            </a:r>
          </a:p>
          <a:p>
            <a:pPr marL="342900" lvl="1" indent="0">
              <a:spcAft>
                <a:spcPts val="600"/>
              </a:spcAft>
              <a:buNone/>
            </a:pPr>
            <a:r>
              <a:rPr lang="sv-SE" dirty="0">
                <a:latin typeface="Calibri" panose="020F0502020204030204" pitchFamily="34" charset="0"/>
              </a:rPr>
              <a:t>1. Vårdgivaren har verksamhetsanpassade lokala vårdhygieniska rutiner baserade på huvudmannens riktlinjer. </a:t>
            </a:r>
          </a:p>
          <a:p>
            <a:pPr marL="342900" lvl="1" indent="0">
              <a:spcAft>
                <a:spcPts val="600"/>
              </a:spcAft>
              <a:buNone/>
            </a:pPr>
            <a:endParaRPr lang="sv-SE" dirty="0">
              <a:latin typeface="Calibri" panose="020F0502020204030204" pitchFamily="34" charset="0"/>
            </a:endParaRPr>
          </a:p>
          <a:p>
            <a:pPr marL="342900" lvl="1" indent="0">
              <a:spcAft>
                <a:spcPts val="600"/>
              </a:spcAft>
              <a:buNone/>
            </a:pPr>
            <a:r>
              <a:rPr lang="sv-SE" dirty="0">
                <a:latin typeface="Calibri" panose="020F0502020204030204" pitchFamily="34" charset="0"/>
              </a:rPr>
              <a:t>2. Vårdgivaren har säkerställt att de lokala rutinerna är tillgängliga och kända av samtliga verksamheter. </a:t>
            </a:r>
          </a:p>
          <a:p>
            <a:pPr marL="342900" lvl="1" indent="0">
              <a:spcAft>
                <a:spcPts val="600"/>
              </a:spcAft>
              <a:buNone/>
            </a:pPr>
            <a:endParaRPr lang="sv-SE" dirty="0">
              <a:latin typeface="Calibri" panose="020F0502020204030204" pitchFamily="34" charset="0"/>
            </a:endParaRPr>
          </a:p>
          <a:p>
            <a:pPr marL="342900" lvl="1" indent="0">
              <a:spcAft>
                <a:spcPts val="600"/>
              </a:spcAft>
              <a:buNone/>
            </a:pPr>
            <a:r>
              <a:rPr lang="sv-SE" dirty="0">
                <a:latin typeface="Calibri" panose="020F0502020204030204" pitchFamily="34" charset="0"/>
              </a:rPr>
              <a:t>3. Vårdgivaren säkerställer att medarbetare och vårdhygienisk expertis är involverade i att ta fram, utveckla och anpassa lokala rutiner. </a:t>
            </a:r>
          </a:p>
          <a:p>
            <a:pPr marL="342900" lvl="1" indent="0">
              <a:spcAft>
                <a:spcPts val="600"/>
              </a:spcAft>
              <a:buNone/>
            </a:pPr>
            <a:endParaRPr lang="sv-SE" dirty="0">
              <a:latin typeface="Calibri" panose="020F0502020204030204" pitchFamily="34" charset="0"/>
            </a:endParaRPr>
          </a:p>
          <a:p>
            <a:pPr marL="342900" lvl="1" indent="0">
              <a:spcAft>
                <a:spcPts val="600"/>
              </a:spcAft>
              <a:buNone/>
            </a:pPr>
            <a:r>
              <a:rPr lang="sv-SE" dirty="0">
                <a:latin typeface="Calibri" panose="020F0502020204030204" pitchFamily="34" charset="0"/>
              </a:rPr>
              <a:t>4. Vårdgivaren säkerställer att det finns vårdhygieniska rutiner riktade till patienter/brukare och deras närstående. </a:t>
            </a:r>
          </a:p>
          <a:p>
            <a:endParaRPr lang="sv-SE" sz="2200" b="1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171386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80A4665-2545-E5AF-2DC2-3B5C40C1E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584202"/>
            <a:ext cx="7056782" cy="711199"/>
          </a:xfrm>
        </p:spPr>
        <p:txBody>
          <a:bodyPr>
            <a:normAutofit/>
          </a:bodyPr>
          <a:lstStyle/>
          <a:p>
            <a:r>
              <a:rPr lang="sv-SE" sz="2800" dirty="0"/>
              <a:t>Uppföljning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2932053-F369-3CB5-8510-5471D715BD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2651" y="1409701"/>
            <a:ext cx="7515225" cy="4767263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För att se att det som beskrivs i olika områden i Vägledning för vårdhygieniskt arbete – t.ex. Utbildning och träning (område 3) och Lokaler och utrustning (område 8) - har effekt måste verksamheten följa upp både resultat och process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9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Uppföljning ingår i det systematiska kvalitetsarbetet (SOSFS 2011:9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9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Område 4 handlar om övervakning och registrering av vårdrelaterade infektioner – ett resultatmått </a:t>
            </a:r>
          </a:p>
        </p:txBody>
      </p:sp>
    </p:spTree>
    <p:extLst>
      <p:ext uri="{BB962C8B-B14F-4D97-AF65-F5344CB8AC3E}">
        <p14:creationId xmlns:p14="http://schemas.microsoft.com/office/powerpoint/2010/main" val="1168883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01A3C10-E8C9-69BC-EBC3-37DF580239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96452" y="609383"/>
            <a:ext cx="6858000" cy="609793"/>
          </a:xfrm>
        </p:spPr>
        <p:txBody>
          <a:bodyPr>
            <a:normAutofit/>
          </a:bodyPr>
          <a:lstStyle/>
          <a:p>
            <a:r>
              <a:rPr lang="sv-SE" sz="2800" dirty="0"/>
              <a:t>4. Övervakning och registrering av VRI 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13E4684F-9D89-7F68-2C9F-42FFEDBBDF02}"/>
              </a:ext>
            </a:extLst>
          </p:cNvPr>
          <p:cNvSpPr txBox="1"/>
          <p:nvPr/>
        </p:nvSpPr>
        <p:spPr>
          <a:xfrm>
            <a:off x="1696452" y="1720840"/>
            <a:ext cx="695425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dirty="0"/>
              <a:t>Infektionsverktyget, ett nationellt </a:t>
            </a:r>
            <a:r>
              <a:rPr lang="sv-SE" sz="2400" dirty="0" err="1"/>
              <a:t>it-stöd</a:t>
            </a:r>
            <a:r>
              <a:rPr lang="sv-SE" sz="2400" dirty="0"/>
              <a:t> för att dokumentera, lagra och återkoppla information om vårdrelaterade infektioner och antibiotikaanvändning</a:t>
            </a:r>
          </a:p>
          <a:p>
            <a:endParaRPr lang="sv-SE" sz="2400" dirty="0"/>
          </a:p>
          <a:p>
            <a:endParaRPr lang="sv-SE" sz="2400" dirty="0"/>
          </a:p>
          <a:p>
            <a:r>
              <a:rPr lang="sv-SE" sz="2400" dirty="0"/>
              <a:t>Svenska ”halt” är en mätning av vårdrelaterade infektioner och antibiotikaanvändning i särskilt boende. Syftet är att stödja och stimulera till ett lokalt och regionalt systematiskt kvalitetsarbete. </a:t>
            </a:r>
          </a:p>
        </p:txBody>
      </p:sp>
    </p:spTree>
    <p:extLst>
      <p:ext uri="{BB962C8B-B14F-4D97-AF65-F5344CB8AC3E}">
        <p14:creationId xmlns:p14="http://schemas.microsoft.com/office/powerpoint/2010/main" val="27356251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4C2B3E5-EAF5-F6AA-520A-CCAE66CE6F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175" y="687180"/>
            <a:ext cx="6858000" cy="504057"/>
          </a:xfrm>
        </p:spPr>
        <p:txBody>
          <a:bodyPr>
            <a:normAutofit/>
          </a:bodyPr>
          <a:lstStyle/>
          <a:p>
            <a:r>
              <a:rPr lang="sv-SE" sz="2800" dirty="0"/>
              <a:t>4. Övervakning och registrering av VRI 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D993AAD-3917-4273-7E2B-7D1E19A268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5175" y="1526303"/>
            <a:ext cx="7790680" cy="4392488"/>
          </a:xfrm>
        </p:spPr>
        <p:txBody>
          <a:bodyPr>
            <a:normAutofit/>
          </a:bodyPr>
          <a:lstStyle/>
          <a:p>
            <a:pPr defTabSz="685800">
              <a:spcBef>
                <a:spcPts val="750"/>
              </a:spcBef>
              <a:spcAft>
                <a:spcPts val="1200"/>
              </a:spcAft>
              <a:defRPr/>
            </a:pPr>
            <a:r>
              <a:rPr lang="sv-SE" sz="2200" b="1" dirty="0">
                <a:solidFill>
                  <a:srgbClr val="000000"/>
                </a:solidFill>
                <a:latin typeface="Calibri" panose="020F0502020204030204"/>
              </a:rPr>
              <a:t>Exempel på frågor från checklistan (</a:t>
            </a:r>
            <a:r>
              <a:rPr lang="sv-SE" sz="2200" b="1" dirty="0" err="1">
                <a:solidFill>
                  <a:srgbClr val="000000"/>
                </a:solidFill>
                <a:latin typeface="Calibri" panose="020F0502020204030204"/>
              </a:rPr>
              <a:t>mesonivå</a:t>
            </a:r>
            <a:r>
              <a:rPr lang="sv-SE" sz="2200" b="1" dirty="0">
                <a:solidFill>
                  <a:srgbClr val="000000"/>
                </a:solidFill>
                <a:latin typeface="Calibri" panose="020F0502020204030204"/>
              </a:rPr>
              <a:t>):</a:t>
            </a:r>
          </a:p>
          <a:p>
            <a:pPr marL="342900" lvl="1" indent="0">
              <a:spcAft>
                <a:spcPts val="600"/>
              </a:spcAft>
              <a:buNone/>
            </a:pPr>
            <a:r>
              <a:rPr lang="sv-SE" sz="2200" dirty="0"/>
              <a:t>3. Vårdgivaren har en struktur för återkoppling av resultaten från infektionsregistreringen till medarbetarna, liksom en struktur för kvalitetssäkring av data.</a:t>
            </a:r>
          </a:p>
          <a:p>
            <a:pPr marL="342900" lvl="1" indent="0">
              <a:spcAft>
                <a:spcPts val="600"/>
              </a:spcAft>
              <a:buNone/>
            </a:pPr>
            <a:endParaRPr lang="sv-SE" sz="2200" dirty="0"/>
          </a:p>
          <a:p>
            <a:pPr marL="342900" lvl="1" indent="0">
              <a:spcAft>
                <a:spcPts val="600"/>
              </a:spcAft>
              <a:buNone/>
            </a:pPr>
            <a:r>
              <a:rPr lang="sv-SE" sz="2200" dirty="0"/>
              <a:t>4. Verksamhetschefen ansvarar för att resultaten från infektionsregistreringen analyseras fortlöpande och kopplas till förbättringsåtgärder som beskrivs i vårdgivarens plan för att förebygga vårdrelaterade infektioner.</a:t>
            </a:r>
          </a:p>
        </p:txBody>
      </p:sp>
    </p:spTree>
    <p:extLst>
      <p:ext uri="{BB962C8B-B14F-4D97-AF65-F5344CB8AC3E}">
        <p14:creationId xmlns:p14="http://schemas.microsoft.com/office/powerpoint/2010/main" val="19678462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D1117138-D4C9-A07F-B5D1-9E4C53D66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1" y="365129"/>
            <a:ext cx="7056782" cy="1064177"/>
          </a:xfrm>
        </p:spPr>
        <p:txBody>
          <a:bodyPr>
            <a:normAutofit/>
          </a:bodyPr>
          <a:lstStyle/>
          <a:p>
            <a:r>
              <a:rPr lang="sv-SE" sz="2800" dirty="0"/>
              <a:t>6. Systematiskt kvalitetsarbete - mätning och uppföljning av strukturer och processer</a:t>
            </a:r>
          </a:p>
        </p:txBody>
      </p:sp>
      <p:graphicFrame>
        <p:nvGraphicFramePr>
          <p:cNvPr id="8" name="Platshållare för innehåll 3">
            <a:extLst>
              <a:ext uri="{FF2B5EF4-FFF2-40B4-BE49-F238E27FC236}">
                <a16:creationId xmlns:a16="http://schemas.microsoft.com/office/drawing/2014/main" id="{F33E577A-2CB4-7915-90F5-2ED18EB49904}"/>
              </a:ext>
            </a:extLst>
          </p:cNvPr>
          <p:cNvGraphicFramePr>
            <a:graphicFrameLocks/>
          </p:cNvGraphicFramePr>
          <p:nvPr/>
        </p:nvGraphicFramePr>
        <p:xfrm>
          <a:off x="7799257" y="1365054"/>
          <a:ext cx="2820352" cy="14127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Platshållare för innehåll 9">
            <a:extLst>
              <a:ext uri="{FF2B5EF4-FFF2-40B4-BE49-F238E27FC236}">
                <a16:creationId xmlns:a16="http://schemas.microsoft.com/office/drawing/2014/main" id="{DBF02A7E-6912-B8DE-8E9E-812C46370A4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761469" y="1365054"/>
          <a:ext cx="7839147" cy="50268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4703631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D1117138-D4C9-A07F-B5D1-9E4C53D66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1" y="320740"/>
            <a:ext cx="7056782" cy="1037544"/>
          </a:xfrm>
        </p:spPr>
        <p:txBody>
          <a:bodyPr>
            <a:normAutofit/>
          </a:bodyPr>
          <a:lstStyle/>
          <a:p>
            <a:r>
              <a:rPr lang="sv-SE" sz="2800" dirty="0"/>
              <a:t>6. Systematiskt kvalitetsarbete - mätning och uppföljning av strukturer och processer</a:t>
            </a:r>
          </a:p>
        </p:txBody>
      </p:sp>
      <p:graphicFrame>
        <p:nvGraphicFramePr>
          <p:cNvPr id="8" name="Platshållare för innehåll 3">
            <a:extLst>
              <a:ext uri="{FF2B5EF4-FFF2-40B4-BE49-F238E27FC236}">
                <a16:creationId xmlns:a16="http://schemas.microsoft.com/office/drawing/2014/main" id="{F33E577A-2CB4-7915-90F5-2ED18EB49904}"/>
              </a:ext>
            </a:extLst>
          </p:cNvPr>
          <p:cNvGraphicFramePr>
            <a:graphicFrameLocks/>
          </p:cNvGraphicFramePr>
          <p:nvPr/>
        </p:nvGraphicFramePr>
        <p:xfrm>
          <a:off x="7733660" y="1293849"/>
          <a:ext cx="2820352" cy="14127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Platshållare för innehåll 9">
            <a:extLst>
              <a:ext uri="{FF2B5EF4-FFF2-40B4-BE49-F238E27FC236}">
                <a16:creationId xmlns:a16="http://schemas.microsoft.com/office/drawing/2014/main" id="{DBF02A7E-6912-B8DE-8E9E-812C46370A4E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152652" y="1540933"/>
          <a:ext cx="7118905" cy="4753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963831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A94627-0C62-FA69-3100-EE6690B130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568715"/>
            <a:ext cx="9144000" cy="609793"/>
          </a:xfrm>
        </p:spPr>
        <p:txBody>
          <a:bodyPr>
            <a:normAutofit/>
          </a:bodyPr>
          <a:lstStyle/>
          <a:p>
            <a:r>
              <a:rPr lang="sv-SE" sz="2800" dirty="0"/>
              <a:t>Vem har ansvar för vårdhygieniskt arbete?</a:t>
            </a:r>
            <a:endParaRPr lang="sv-SE" sz="2800" dirty="0">
              <a:latin typeface="+mn-lt"/>
            </a:endParaRP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03DAFAA-8539-3E19-17DC-CC9077B81C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8742" y="1518880"/>
            <a:ext cx="7324186" cy="4258785"/>
          </a:xfrm>
        </p:spPr>
        <p:txBody>
          <a:bodyPr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sv-SE" sz="2600" b="1" dirty="0">
                <a:solidFill>
                  <a:srgbClr val="333333"/>
                </a:solidFill>
                <a:latin typeface="Arial" panose="020B0604020202020204" pitchFamily="34" charset="0"/>
              </a:rPr>
              <a:t>Hälso- och sjukvårdslagen</a:t>
            </a:r>
          </a:p>
          <a:p>
            <a:pPr algn="l"/>
            <a:r>
              <a:rPr lang="sv-SE" sz="2600" b="1" dirty="0">
                <a:solidFill>
                  <a:srgbClr val="333333"/>
                </a:solidFill>
                <a:latin typeface="Arial" panose="020B0604020202020204" pitchFamily="34" charset="0"/>
              </a:rPr>
              <a:t>5 kap. Verksamheten</a:t>
            </a:r>
            <a:endParaRPr lang="sv-SE" sz="2600" b="1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algn="l"/>
            <a:r>
              <a:rPr lang="sv-SE" b="1" dirty="0">
                <a:solidFill>
                  <a:srgbClr val="333333"/>
                </a:solidFill>
                <a:latin typeface="Arial" panose="020B0604020202020204" pitchFamily="34" charset="0"/>
              </a:rPr>
              <a:t>Allmänt</a:t>
            </a:r>
            <a:endParaRPr lang="sv-SE" b="1" dirty="0">
              <a:solidFill>
                <a:srgbClr val="222222"/>
              </a:solidFill>
              <a:latin typeface="Arial" panose="020B0604020202020204" pitchFamily="34" charset="0"/>
            </a:endParaRPr>
          </a:p>
          <a:p>
            <a:pPr algn="l"/>
            <a:r>
              <a:rPr lang="sv-SE" b="1" dirty="0">
                <a:solidFill>
                  <a:srgbClr val="333333"/>
                </a:solidFill>
                <a:latin typeface="Arial" panose="020B0604020202020204" pitchFamily="34" charset="0"/>
              </a:rPr>
              <a:t>1 §</a:t>
            </a:r>
            <a:r>
              <a:rPr lang="sv-SE" dirty="0">
                <a:solidFill>
                  <a:srgbClr val="000000"/>
                </a:solidFill>
                <a:latin typeface="Arial" panose="020B0604020202020204" pitchFamily="34" charset="0"/>
              </a:rPr>
              <a:t>   Hälso- och sjukvårdsverksamhet ska bedrivas så att kraven på en god vård uppfylls. Det innebär att vården särskilt ska:</a:t>
            </a:r>
            <a:br>
              <a:rPr lang="sv-SE" dirty="0">
                <a:solidFill>
                  <a:srgbClr val="000000"/>
                </a:solidFill>
                <a:latin typeface="Arial" panose="020B0604020202020204" pitchFamily="34" charset="0"/>
              </a:rPr>
            </a:br>
            <a:br>
              <a:rPr lang="sv-SE" dirty="0">
                <a:latin typeface="Arial" panose="020B0604020202020204" pitchFamily="34" charset="0"/>
              </a:rPr>
            </a:br>
            <a:r>
              <a:rPr lang="sv-SE" dirty="0">
                <a:latin typeface="Arial" panose="020B0604020202020204" pitchFamily="34" charset="0"/>
              </a:rPr>
              <a:t>   1. vara av god kvalitet med en god hygienisk  	 	standard</a:t>
            </a:r>
            <a:br>
              <a:rPr lang="sv-SE" dirty="0">
                <a:latin typeface="Arial" panose="020B0604020202020204" pitchFamily="34" charset="0"/>
              </a:rPr>
            </a:br>
            <a:r>
              <a:rPr lang="sv-SE" dirty="0">
                <a:latin typeface="Arial" panose="020B0604020202020204" pitchFamily="34" charset="0"/>
              </a:rPr>
              <a:t>  </a:t>
            </a:r>
          </a:p>
          <a:p>
            <a:pPr algn="l"/>
            <a:r>
              <a:rPr lang="sv-SE" b="1" dirty="0">
                <a:latin typeface="Arial" panose="020B0604020202020204" pitchFamily="34" charset="0"/>
              </a:rPr>
              <a:t>2 §</a:t>
            </a:r>
            <a:r>
              <a:rPr lang="sv-SE" dirty="0">
                <a:latin typeface="Arial" panose="020B0604020202020204" pitchFamily="34" charset="0"/>
              </a:rPr>
              <a:t>   Där det bedrivs hälso- och sjukvårdsverksamhet ska det finnas den personal, de lokaler och den utrustning som behövs för att god vård ska kunna ges.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566025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D1117138-D4C9-A07F-B5D1-9E4C53D66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1" y="365129"/>
            <a:ext cx="7056782" cy="886623"/>
          </a:xfrm>
        </p:spPr>
        <p:txBody>
          <a:bodyPr>
            <a:normAutofit/>
          </a:bodyPr>
          <a:lstStyle/>
          <a:p>
            <a:r>
              <a:rPr lang="sv-SE" sz="2800" dirty="0"/>
              <a:t>6. Systematiskt kvalitetsarbete - mätning och uppföljning av strukturer och processer</a:t>
            </a:r>
          </a:p>
        </p:txBody>
      </p:sp>
      <p:graphicFrame>
        <p:nvGraphicFramePr>
          <p:cNvPr id="8" name="Platshållare för innehåll 3">
            <a:extLst>
              <a:ext uri="{FF2B5EF4-FFF2-40B4-BE49-F238E27FC236}">
                <a16:creationId xmlns:a16="http://schemas.microsoft.com/office/drawing/2014/main" id="{F33E577A-2CB4-7915-90F5-2ED18EB49904}"/>
              </a:ext>
            </a:extLst>
          </p:cNvPr>
          <p:cNvGraphicFramePr>
            <a:graphicFrameLocks/>
          </p:cNvGraphicFramePr>
          <p:nvPr/>
        </p:nvGraphicFramePr>
        <p:xfrm>
          <a:off x="8060712" y="808440"/>
          <a:ext cx="2820352" cy="14127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CBF73E44-0636-3716-A2E3-988708C593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14617" y="1429306"/>
            <a:ext cx="7294816" cy="4691813"/>
          </a:xfrm>
        </p:spPr>
        <p:txBody>
          <a:bodyPr>
            <a:normAutofit lnSpcReduction="10000"/>
          </a:bodyPr>
          <a:lstStyle/>
          <a:p>
            <a:pPr defTabSz="514350">
              <a:spcBef>
                <a:spcPts val="600"/>
              </a:spcBef>
              <a:spcAft>
                <a:spcPts val="1200"/>
              </a:spcAft>
              <a:defRPr/>
            </a:pPr>
            <a:r>
              <a:rPr lang="sv-SE" sz="2200" b="1" dirty="0">
                <a:solidFill>
                  <a:srgbClr val="000000"/>
                </a:solidFill>
                <a:latin typeface="Calibri" panose="020F0502020204030204"/>
              </a:rPr>
              <a:t>Exempel på frågor från checklistan (</a:t>
            </a:r>
            <a:r>
              <a:rPr lang="sv-SE" sz="2200" b="1" dirty="0" err="1">
                <a:solidFill>
                  <a:srgbClr val="000000"/>
                </a:solidFill>
                <a:latin typeface="Calibri" panose="020F0502020204030204"/>
              </a:rPr>
              <a:t>mesonivå</a:t>
            </a:r>
            <a:r>
              <a:rPr lang="sv-SE" sz="2200" b="1" dirty="0">
                <a:solidFill>
                  <a:srgbClr val="000000"/>
                </a:solidFill>
                <a:latin typeface="Calibri" panose="020F0502020204030204"/>
              </a:rPr>
              <a:t>):</a:t>
            </a:r>
            <a:endParaRPr lang="sv-SE" dirty="0"/>
          </a:p>
          <a:p>
            <a:pPr>
              <a:spcAft>
                <a:spcPts val="1200"/>
              </a:spcAft>
            </a:pPr>
            <a:r>
              <a:rPr lang="sv-SE" sz="2000" dirty="0"/>
              <a:t>1. Vårdgivaren utövar egenkontroll av hygienisk standard genom systematiska mätningar av de processer och rutiner på vårdhygienområdet som ingår i ledningssystemet. </a:t>
            </a:r>
          </a:p>
          <a:p>
            <a:pPr>
              <a:spcAft>
                <a:spcPts val="1200"/>
              </a:spcAft>
            </a:pPr>
            <a:r>
              <a:rPr lang="sv-SE" sz="2000" dirty="0"/>
              <a:t>2. Vårdgivaren utför riskanalyser för att bedöma om det finns risk för att oönskade händelser kopplade till bristande hygienisk standard skulle kunna inträffa. </a:t>
            </a:r>
          </a:p>
          <a:p>
            <a:pPr>
              <a:spcAft>
                <a:spcPts val="1200"/>
              </a:spcAft>
            </a:pPr>
            <a:r>
              <a:rPr lang="sv-SE" sz="2000" dirty="0"/>
              <a:t>3. Vårdgivaren tar som en del i det systematiska förbättringsarbetet fram handlingsplaner utifrån resultat av mätningar och utvärdering, samt vidtar åtgärder.</a:t>
            </a:r>
          </a:p>
          <a:p>
            <a:pPr>
              <a:spcAft>
                <a:spcPts val="1200"/>
              </a:spcAft>
            </a:pPr>
            <a:r>
              <a:rPr lang="sv-SE" sz="2000" dirty="0"/>
              <a:t>4. Vårdgivaren säkerställer att vårdhygienisk expertis medverkar som stöd i det systematiska kvalitetsarbetet gällande till exempel riskanalys och värdering av hygienisk standard.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596639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6D710FA-6CCB-3BB0-21EB-5619FD8C28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1" y="365130"/>
            <a:ext cx="7056782" cy="676271"/>
          </a:xfrm>
        </p:spPr>
        <p:txBody>
          <a:bodyPr>
            <a:normAutofit/>
          </a:bodyPr>
          <a:lstStyle/>
          <a:p>
            <a:r>
              <a:rPr lang="sv-SE" sz="2800" dirty="0"/>
              <a:t>8. Lokaler och utrustning</a:t>
            </a:r>
          </a:p>
        </p:txBody>
      </p:sp>
      <p:graphicFrame>
        <p:nvGraphicFramePr>
          <p:cNvPr id="4" name="Platshållare för innehåll 3">
            <a:extLst>
              <a:ext uri="{FF2B5EF4-FFF2-40B4-BE49-F238E27FC236}">
                <a16:creationId xmlns:a16="http://schemas.microsoft.com/office/drawing/2014/main" id="{3BD94A80-F0C3-0456-F125-A58CF13F63F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0100612"/>
              </p:ext>
            </p:extLst>
          </p:nvPr>
        </p:nvGraphicFramePr>
        <p:xfrm>
          <a:off x="1785892" y="1349406"/>
          <a:ext cx="8620217" cy="45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1858805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9A910E7-8D18-E1DA-2F82-B5E41FBBC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1" y="365129"/>
            <a:ext cx="7056782" cy="735539"/>
          </a:xfrm>
        </p:spPr>
        <p:txBody>
          <a:bodyPr>
            <a:normAutofit/>
          </a:bodyPr>
          <a:lstStyle/>
          <a:p>
            <a:r>
              <a:rPr lang="sv-SE" sz="2800" dirty="0"/>
              <a:t>8. Lokaler och utrustning</a:t>
            </a:r>
          </a:p>
        </p:txBody>
      </p:sp>
      <p:graphicFrame>
        <p:nvGraphicFramePr>
          <p:cNvPr id="4" name="Platshållare för innehåll 3">
            <a:extLst>
              <a:ext uri="{FF2B5EF4-FFF2-40B4-BE49-F238E27FC236}">
                <a16:creationId xmlns:a16="http://schemas.microsoft.com/office/drawing/2014/main" id="{86505A82-DC6B-270C-9C7F-6ED25EB1520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66745261"/>
              </p:ext>
            </p:extLst>
          </p:nvPr>
        </p:nvGraphicFramePr>
        <p:xfrm>
          <a:off x="673768" y="1438182"/>
          <a:ext cx="10491537" cy="44654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553894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D1117138-D4C9-A07F-B5D1-9E4C53D66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1" y="365129"/>
            <a:ext cx="7056782" cy="620293"/>
          </a:xfrm>
        </p:spPr>
        <p:txBody>
          <a:bodyPr>
            <a:normAutofit/>
          </a:bodyPr>
          <a:lstStyle/>
          <a:p>
            <a:r>
              <a:rPr lang="sv-SE" sz="2800" dirty="0"/>
              <a:t>8. Lokaler och utrustning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CBF73E44-0636-3716-A2E3-988708C593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7681" y="1058334"/>
            <a:ext cx="7901127" cy="5342466"/>
          </a:xfrm>
        </p:spPr>
        <p:txBody>
          <a:bodyPr>
            <a:normAutofit fontScale="85000" lnSpcReduction="20000"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sv-SE" sz="2600" b="1" dirty="0">
                <a:solidFill>
                  <a:srgbClr val="000000"/>
                </a:solidFill>
                <a:latin typeface="Calibri" panose="020F0502020204030204"/>
              </a:rPr>
              <a:t>Exempel på frågor från checklistan: </a:t>
            </a:r>
          </a:p>
          <a:p>
            <a:r>
              <a:rPr lang="sv-SE" b="1" dirty="0"/>
              <a:t>Makronivå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dirty="0"/>
              <a:t>1. Huvudmannen har </a:t>
            </a:r>
            <a:r>
              <a:rPr lang="sv-SE" b="1" dirty="0"/>
              <a:t>säkerställt</a:t>
            </a:r>
            <a:r>
              <a:rPr lang="sv-SE" dirty="0"/>
              <a:t> att lokaler som används för vård och omsorg är anpassade till de hygienkrav som ställs på verksamheten som bedrivs där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dirty="0"/>
              <a:t>2. Huvudmannen har </a:t>
            </a:r>
            <a:r>
              <a:rPr lang="sv-SE" b="1" dirty="0"/>
              <a:t>säkerställt</a:t>
            </a:r>
            <a:r>
              <a:rPr lang="sv-SE" dirty="0"/>
              <a:t> att vårdhygieniska krav ställs vid ny- och ombyggnation av lokaler för vård och omsorg och att vårdhygienisk expertis då fungerar som sakkunniga.</a:t>
            </a:r>
          </a:p>
          <a:p>
            <a:endParaRPr lang="sv-SE" dirty="0"/>
          </a:p>
          <a:p>
            <a:r>
              <a:rPr lang="sv-SE" b="1" dirty="0" err="1"/>
              <a:t>Mesonivå</a:t>
            </a:r>
            <a:endParaRPr lang="sv-SE" b="1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dirty="0"/>
              <a:t>1. Vårdgivaren har </a:t>
            </a:r>
            <a:r>
              <a:rPr lang="sv-SE" b="1" dirty="0"/>
              <a:t>säkerställt</a:t>
            </a:r>
            <a:r>
              <a:rPr lang="sv-SE" dirty="0"/>
              <a:t> att god övervakning och åtgärdsplan finns avseende att förebygga infektioner med </a:t>
            </a:r>
            <a:r>
              <a:rPr lang="sv-SE" dirty="0" err="1"/>
              <a:t>legionella</a:t>
            </a:r>
            <a:r>
              <a:rPr lang="sv-SE" dirty="0"/>
              <a:t> och andra vattenburna mikroorganismer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dirty="0"/>
              <a:t>2. Vårdgivaren har </a:t>
            </a:r>
            <a:r>
              <a:rPr lang="sv-SE" b="1" dirty="0"/>
              <a:t>säkerställt</a:t>
            </a:r>
            <a:r>
              <a:rPr lang="sv-SE" dirty="0"/>
              <a:t> att det finns tillgång till medel, metoder och apparatur för rengöring, desinfektion och sterilisering av utrustning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dirty="0"/>
              <a:t>3. Vårdgivaren har</a:t>
            </a:r>
            <a:r>
              <a:rPr lang="sv-SE" b="1" dirty="0"/>
              <a:t> säkerställt </a:t>
            </a:r>
            <a:r>
              <a:rPr lang="sv-SE" dirty="0"/>
              <a:t>att lokaler avsedda för vård och omsorg städas enligt nationella riktlinjer och att nationella regelverk avseende avfallshantering följs.</a:t>
            </a:r>
          </a:p>
          <a:p>
            <a:endParaRPr lang="sv-SE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6380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8E2ED6-DAD0-D552-5E7D-77E4FD892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7562" y="325967"/>
            <a:ext cx="9096875" cy="659339"/>
          </a:xfrm>
        </p:spPr>
        <p:txBody>
          <a:bodyPr anchor="ctr">
            <a:noAutofit/>
          </a:bodyPr>
          <a:lstStyle/>
          <a:p>
            <a:r>
              <a:rPr lang="sv-SE" sz="2800" dirty="0"/>
              <a:t>Frågor som tar det lokala arbetet med vägledningen vidare:</a:t>
            </a:r>
          </a:p>
        </p:txBody>
      </p:sp>
      <p:graphicFrame>
        <p:nvGraphicFramePr>
          <p:cNvPr id="5" name="Platshållare för innehåll 4">
            <a:extLst>
              <a:ext uri="{FF2B5EF4-FFF2-40B4-BE49-F238E27FC236}">
                <a16:creationId xmlns:a16="http://schemas.microsoft.com/office/drawing/2014/main" id="{4A9F1170-1ED3-02B6-2CFF-2066B0FE66F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051051" y="1253067"/>
          <a:ext cx="7812616" cy="49492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701100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F28BA25-4BAB-E317-6B45-77E8E04529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92443" y="2229415"/>
            <a:ext cx="7896726" cy="2823847"/>
          </a:xfrm>
        </p:spPr>
        <p:txBody>
          <a:bodyPr/>
          <a:lstStyle/>
          <a:p>
            <a:pPr algn="ctr"/>
            <a:r>
              <a:rPr lang="sv-SE" dirty="0"/>
              <a:t>Information och dokument finns på kunskapsstyrningvard.se,  använd sökfunktionen</a:t>
            </a:r>
          </a:p>
        </p:txBody>
      </p:sp>
    </p:spTree>
    <p:extLst>
      <p:ext uri="{BB962C8B-B14F-4D97-AF65-F5344CB8AC3E}">
        <p14:creationId xmlns:p14="http://schemas.microsoft.com/office/powerpoint/2010/main" val="1158459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D4E9052-AA93-4FB5-BFBB-42EB255C5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1" y="365129"/>
            <a:ext cx="7056782" cy="700192"/>
          </a:xfrm>
        </p:spPr>
        <p:txBody>
          <a:bodyPr>
            <a:normAutofit/>
          </a:bodyPr>
          <a:lstStyle/>
          <a:p>
            <a:r>
              <a:rPr lang="sv-SE" sz="2800" dirty="0">
                <a:latin typeface="+mn-lt"/>
              </a:rPr>
              <a:t>Vad är ”god hygienisk standard”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B060AF3-7EE2-CB98-C695-9BBBD33AF3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0337" y="1065322"/>
            <a:ext cx="9307146" cy="5427549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10000"/>
              </a:lnSpc>
            </a:pPr>
            <a:r>
              <a:rPr lang="sv-SE" sz="2200" dirty="0"/>
              <a:t>På Socialstyrelsens webbplats finns en beskrivning av God hygienisk standard: </a:t>
            </a:r>
          </a:p>
          <a:p>
            <a:pPr>
              <a:lnSpc>
                <a:spcPct val="110000"/>
              </a:lnSpc>
            </a:pPr>
            <a:r>
              <a:rPr lang="sv-SE" sz="2600" b="1" dirty="0"/>
              <a:t>God hygienisk standard</a:t>
            </a:r>
          </a:p>
          <a:p>
            <a:pPr>
              <a:lnSpc>
                <a:spcPct val="100000"/>
              </a:lnSpc>
            </a:pPr>
            <a:r>
              <a:rPr lang="sv-SE" dirty="0"/>
              <a:t>För att hålla en god hygienisk standard ska lokaler, utrustning och hela verksamheten utformas så att risken för infektioner och smittspridning blir så liten som möjligt.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sv-SE" dirty="0"/>
              <a:t>En god hygienisk standard berör alla som arbetar och vistas inom vård, tandvård och omsorgsverksamhet. Det inkluderar både vård- och omsorgstagare, personal, närstående och besökare. Hälso- och sjukvårdslagen och tandvårdslagen ställer krav på att vården ska vara av god hygienisk standard. Det omfattar bland annat:</a:t>
            </a:r>
          </a:p>
          <a:p>
            <a:pPr marL="728663" lvl="1" indent="-342900">
              <a:lnSpc>
                <a:spcPct val="110000"/>
              </a:lnSpc>
            </a:pPr>
            <a:r>
              <a:rPr lang="sv-SE" dirty="0"/>
              <a:t>Vårdhygienisk kompetens</a:t>
            </a:r>
          </a:p>
          <a:p>
            <a:pPr marL="728663" lvl="1" indent="-342900">
              <a:lnSpc>
                <a:spcPct val="110000"/>
              </a:lnSpc>
            </a:pPr>
            <a:r>
              <a:rPr lang="sv-SE" dirty="0"/>
              <a:t>Vårdlokaler</a:t>
            </a:r>
          </a:p>
          <a:p>
            <a:pPr marL="728663" lvl="1" indent="-342900">
              <a:lnSpc>
                <a:spcPct val="110000"/>
              </a:lnSpc>
            </a:pPr>
            <a:r>
              <a:rPr lang="sv-SE" dirty="0"/>
              <a:t>Utrustning i vården</a:t>
            </a:r>
          </a:p>
          <a:p>
            <a:pPr marL="728663" lvl="1" indent="-342900">
              <a:lnSpc>
                <a:spcPct val="110000"/>
              </a:lnSpc>
            </a:pPr>
            <a:r>
              <a:rPr lang="sv-SE" dirty="0"/>
              <a:t>Vårdens organisation och planering”</a:t>
            </a:r>
          </a:p>
        </p:txBody>
      </p:sp>
    </p:spTree>
    <p:extLst>
      <p:ext uri="{BB962C8B-B14F-4D97-AF65-F5344CB8AC3E}">
        <p14:creationId xmlns:p14="http://schemas.microsoft.com/office/powerpoint/2010/main" val="34959180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ruta 7">
            <a:extLst>
              <a:ext uri="{FF2B5EF4-FFF2-40B4-BE49-F238E27FC236}">
                <a16:creationId xmlns:a16="http://schemas.microsoft.com/office/drawing/2014/main" id="{2B763857-F77F-4D1B-BD31-DCBE692522D2}"/>
              </a:ext>
            </a:extLst>
          </p:cNvPr>
          <p:cNvSpPr txBox="1"/>
          <p:nvPr/>
        </p:nvSpPr>
        <p:spPr>
          <a:xfrm>
            <a:off x="4347411" y="545966"/>
            <a:ext cx="78445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800" b="1" dirty="0">
                <a:solidFill>
                  <a:schemeClr val="accent1"/>
                </a:solidFill>
              </a:rPr>
              <a:t>WHO: </a:t>
            </a:r>
            <a:r>
              <a:rPr lang="sv-SE" sz="2800" b="1" dirty="0" err="1">
                <a:solidFill>
                  <a:schemeClr val="accent1"/>
                </a:solidFill>
              </a:rPr>
              <a:t>Guidelines</a:t>
            </a:r>
            <a:r>
              <a:rPr lang="sv-SE" sz="2800" b="1" dirty="0">
                <a:solidFill>
                  <a:schemeClr val="accent1"/>
                </a:solidFill>
              </a:rPr>
              <a:t> on </a:t>
            </a:r>
            <a:r>
              <a:rPr lang="sv-SE" sz="2800" b="1" dirty="0" err="1">
                <a:solidFill>
                  <a:schemeClr val="accent1"/>
                </a:solidFill>
              </a:rPr>
              <a:t>Core</a:t>
            </a:r>
            <a:r>
              <a:rPr lang="sv-SE" sz="2800" b="1" dirty="0">
                <a:solidFill>
                  <a:schemeClr val="accent1"/>
                </a:solidFill>
              </a:rPr>
              <a:t> Components </a:t>
            </a:r>
            <a:r>
              <a:rPr lang="sv-SE" sz="2800" b="1" dirty="0" err="1">
                <a:solidFill>
                  <a:schemeClr val="accent1"/>
                </a:solidFill>
              </a:rPr>
              <a:t>of</a:t>
            </a:r>
            <a:r>
              <a:rPr lang="sv-SE" sz="2800" b="1" dirty="0">
                <a:solidFill>
                  <a:schemeClr val="accent1"/>
                </a:solidFill>
              </a:rPr>
              <a:t> </a:t>
            </a:r>
            <a:r>
              <a:rPr lang="sv-SE" sz="2800" b="1" dirty="0" err="1">
                <a:solidFill>
                  <a:schemeClr val="accent1"/>
                </a:solidFill>
              </a:rPr>
              <a:t>Infection</a:t>
            </a:r>
            <a:r>
              <a:rPr lang="sv-SE" sz="2800" b="1" dirty="0">
                <a:solidFill>
                  <a:schemeClr val="accent1"/>
                </a:solidFill>
              </a:rPr>
              <a:t> Prevention and Control </a:t>
            </a:r>
            <a:r>
              <a:rPr lang="sv-SE" sz="2800" b="1" dirty="0" err="1">
                <a:solidFill>
                  <a:schemeClr val="accent1"/>
                </a:solidFill>
              </a:rPr>
              <a:t>Programmes</a:t>
            </a:r>
            <a:r>
              <a:rPr lang="sv-SE" sz="2800" b="1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638191DF-FBFE-4511-BF8B-EA60F82F3036}"/>
              </a:ext>
            </a:extLst>
          </p:cNvPr>
          <p:cNvSpPr txBox="1"/>
          <p:nvPr/>
        </p:nvSpPr>
        <p:spPr>
          <a:xfrm>
            <a:off x="4425398" y="1808571"/>
            <a:ext cx="5223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Publicerades 20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Bygger på en systematisk litteraturgenomgång och konsensus i expertgru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400" dirty="0"/>
              <a:t>Tydliga referenser och spårbarhet i vetenskap och beprövad erfarenhet.</a:t>
            </a:r>
          </a:p>
        </p:txBody>
      </p:sp>
      <p:pic>
        <p:nvPicPr>
          <p:cNvPr id="4" name="Bildobjekt 3" descr="Bild som visar rapporten med samma namn som rubriken. Underrubrik: At the National and Acute Health Care Facility Level. ">
            <a:extLst>
              <a:ext uri="{FF2B5EF4-FFF2-40B4-BE49-F238E27FC236}">
                <a16:creationId xmlns:a16="http://schemas.microsoft.com/office/drawing/2014/main" id="{17B711B4-8140-4201-AD9B-FA84F4E4E0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07787" y="292593"/>
            <a:ext cx="4554934" cy="6260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818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9F4FD55-3C38-445D-AB31-DD8CC8E391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65760" y="476673"/>
            <a:ext cx="6858000" cy="609793"/>
          </a:xfrm>
        </p:spPr>
        <p:txBody>
          <a:bodyPr>
            <a:normAutofit/>
          </a:bodyPr>
          <a:lstStyle/>
          <a:p>
            <a:r>
              <a:rPr lang="sv-SE" sz="2800" dirty="0"/>
              <a:t>Aktörer – ansvar och roller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11EA7957-7702-4ABF-BACD-B7FAD2E2E3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65760" y="1196752"/>
            <a:ext cx="7142608" cy="4824536"/>
          </a:xfrm>
        </p:spPr>
        <p:txBody>
          <a:bodyPr>
            <a:normAutofit/>
          </a:bodyPr>
          <a:lstStyle/>
          <a:p>
            <a:r>
              <a:rPr lang="sv-SE" dirty="0"/>
              <a:t>Utgår från Socialstyrelsens beskrivning av ansvar och roller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dirty="0"/>
              <a:t>Regioner och kommuner ansvarar för att erbjuda en god vår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dirty="0"/>
              <a:t>Vårdgivaren har ett organisatoriskt ansva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dirty="0"/>
              <a:t>Verksamhetschefen har det övergripande ansvaret för en verksamhet</a:t>
            </a:r>
          </a:p>
          <a:p>
            <a:endParaRPr lang="sv-SE" dirty="0"/>
          </a:p>
          <a:p>
            <a:r>
              <a:rPr lang="sv-SE" dirty="0"/>
              <a:t>Som har placerats in i kunskapsstyrningens olika nivåe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Makronivå: Huvudma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 err="1"/>
              <a:t>Mesonivå</a:t>
            </a:r>
            <a:r>
              <a:rPr lang="sv-SE" sz="2000" dirty="0"/>
              <a:t>: Vårdgivare, Verksamhetschef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Mikronivå: Medarbetare och chef på enhetsnivå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Individnivå: Patient, brukare och dess närstående</a:t>
            </a:r>
          </a:p>
        </p:txBody>
      </p:sp>
    </p:spTree>
    <p:extLst>
      <p:ext uri="{BB962C8B-B14F-4D97-AF65-F5344CB8AC3E}">
        <p14:creationId xmlns:p14="http://schemas.microsoft.com/office/powerpoint/2010/main" val="13304392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F99CB9A-C87C-491D-9AA7-97E699A678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52042" y="1081502"/>
            <a:ext cx="6858000" cy="609793"/>
          </a:xfrm>
        </p:spPr>
        <p:txBody>
          <a:bodyPr>
            <a:normAutofit/>
          </a:bodyPr>
          <a:lstStyle/>
          <a:p>
            <a:r>
              <a:rPr lang="sv-SE" sz="2600" dirty="0">
                <a:solidFill>
                  <a:schemeClr val="tx1"/>
                </a:solidFill>
              </a:rPr>
              <a:t>Aktiviteter - 8 områden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29638CDE-6676-475D-ABEA-67E4E7EF33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00660" y="1741182"/>
            <a:ext cx="7790680" cy="4186238"/>
          </a:xfrm>
        </p:spPr>
        <p:txBody>
          <a:bodyPr>
            <a:normAutofit lnSpcReduction="10000"/>
          </a:bodyPr>
          <a:lstStyle/>
          <a:p>
            <a:pPr marL="228600" indent="-228600">
              <a:buFont typeface="+mj-lt"/>
              <a:buAutoNum type="arabicPeriod"/>
            </a:pPr>
            <a:r>
              <a:rPr lang="sv-SE" dirty="0"/>
              <a:t> Handlingsplan för att förebygga VRI och smittspridning </a:t>
            </a:r>
          </a:p>
          <a:p>
            <a:pPr marL="228600" indent="-228600">
              <a:buFont typeface="+mj-lt"/>
              <a:buAutoNum type="arabicPeriod"/>
            </a:pPr>
            <a:r>
              <a:rPr lang="sv-SE" dirty="0"/>
              <a:t> Evidensbaserade styrande och stödjande dokument </a:t>
            </a:r>
          </a:p>
          <a:p>
            <a:pPr marL="228600" indent="-228600">
              <a:buFont typeface="+mj-lt"/>
              <a:buAutoNum type="arabicPeriod"/>
            </a:pPr>
            <a:r>
              <a:rPr lang="sv-SE" dirty="0"/>
              <a:t> Utbildning och träning </a:t>
            </a:r>
          </a:p>
          <a:p>
            <a:pPr marL="228600" indent="-228600">
              <a:buFont typeface="+mj-lt"/>
              <a:buAutoNum type="arabicPeriod"/>
            </a:pPr>
            <a:r>
              <a:rPr lang="sv-SE" dirty="0"/>
              <a:t> Övervakning och registrering av VRI </a:t>
            </a:r>
          </a:p>
          <a:p>
            <a:pPr marL="228600" indent="-228600">
              <a:buFont typeface="+mj-lt"/>
              <a:buAutoNum type="arabicPeriod"/>
            </a:pPr>
            <a:r>
              <a:rPr lang="sv-SE" dirty="0"/>
              <a:t> Multimodalt arbetssätt för införande och systematiskt förbättringsarbete </a:t>
            </a:r>
          </a:p>
          <a:p>
            <a:pPr marL="228600" indent="-228600">
              <a:buFont typeface="+mj-lt"/>
              <a:buAutoNum type="arabicPeriod"/>
            </a:pPr>
            <a:r>
              <a:rPr lang="sv-SE" dirty="0"/>
              <a:t> Systematiskt kvalitetsarbete – mätning och uppföljning av strukturer och processer</a:t>
            </a:r>
          </a:p>
          <a:p>
            <a:pPr marL="228600" indent="-228600">
              <a:buFont typeface="+mj-lt"/>
              <a:buAutoNum type="arabicPeriod"/>
            </a:pPr>
            <a:r>
              <a:rPr lang="sv-SE" dirty="0"/>
              <a:t> Bemanning, arbetsbelastning och beläggningsgrad </a:t>
            </a:r>
          </a:p>
          <a:p>
            <a:pPr marL="228600" indent="-228600">
              <a:buFont typeface="+mj-lt"/>
              <a:buAutoNum type="arabicPeriod"/>
            </a:pPr>
            <a:r>
              <a:rPr lang="sv-SE" dirty="0"/>
              <a:t> Lokaler och utrustning</a:t>
            </a:r>
          </a:p>
          <a:p>
            <a:endParaRPr lang="sv-SE" dirty="0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3A1BCF3A-72C2-59D1-2B16-6073633D16F0}"/>
              </a:ext>
            </a:extLst>
          </p:cNvPr>
          <p:cNvSpPr txBox="1">
            <a:spLocks/>
          </p:cNvSpPr>
          <p:nvPr/>
        </p:nvSpPr>
        <p:spPr>
          <a:xfrm>
            <a:off x="2152651" y="365129"/>
            <a:ext cx="7056782" cy="7001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800" dirty="0">
                <a:latin typeface="+mn-lt"/>
              </a:rPr>
              <a:t>Hur uppnås ”god hygienisk standard”?</a:t>
            </a:r>
          </a:p>
        </p:txBody>
      </p:sp>
    </p:spTree>
    <p:extLst>
      <p:ext uri="{BB962C8B-B14F-4D97-AF65-F5344CB8AC3E}">
        <p14:creationId xmlns:p14="http://schemas.microsoft.com/office/powerpoint/2010/main" val="26160298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 descr="Rund bild med figur på svenska. Yttersta cirkeln har text: Multimodalt arbete för implementering (5), halvcirkel innanför högst upp har text: Handlingsplan (1), nedanför 4 textrutor på rad: Riktlinjer och rutiner (2), Utbildning och träning (3), Övervaktning (4), Systematiskt kvalitetsarbete (6). Nedanför halvcirkel med text: Omgivning som möjliggör: Bemanning, arbetsbelastning, beläggning (7), Lokaler och utrustning (8).">
            <a:extLst>
              <a:ext uri="{FF2B5EF4-FFF2-40B4-BE49-F238E27FC236}">
                <a16:creationId xmlns:a16="http://schemas.microsoft.com/office/drawing/2014/main" id="{EAD3E26A-F09E-410D-AB59-8B23E2082B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3682" y="-830179"/>
            <a:ext cx="7466729" cy="7640054"/>
          </a:xfrm>
          <a:prstGeom prst="rect">
            <a:avLst/>
          </a:prstGeom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C2AED69D-5D05-4010-BE50-AC338C248D2C}"/>
              </a:ext>
            </a:extLst>
          </p:cNvPr>
          <p:cNvSpPr txBox="1"/>
          <p:nvPr/>
        </p:nvSpPr>
        <p:spPr>
          <a:xfrm>
            <a:off x="445168" y="551109"/>
            <a:ext cx="358541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venskspråkig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version av den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gur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m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vänds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“Interim Practical manual </a:t>
            </a:r>
          </a:p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orting national implementation of the WHO Guidelines on Core Components of Infection </a:t>
            </a:r>
          </a:p>
          <a:p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evention and Control </a:t>
            </a:r>
            <a:r>
              <a:rPr 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mes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 (World Health Organization 2017). </a:t>
            </a:r>
            <a:endParaRPr lang="sv-SE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80466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65FC81C-AFC8-6866-6902-C371534575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65760" y="531816"/>
            <a:ext cx="6858000" cy="609793"/>
          </a:xfrm>
        </p:spPr>
        <p:txBody>
          <a:bodyPr>
            <a:normAutofit/>
          </a:bodyPr>
          <a:lstStyle/>
          <a:p>
            <a:r>
              <a:rPr lang="sv-SE" sz="2800" dirty="0"/>
              <a:t>Nivåer – var är jag? 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E5EAB71-4819-3EAC-A24E-1C8039BFEB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65760" y="1422400"/>
            <a:ext cx="7358632" cy="4598888"/>
          </a:xfrm>
        </p:spPr>
        <p:txBody>
          <a:bodyPr>
            <a:normAutofit fontScale="92500"/>
          </a:bodyPr>
          <a:lstStyle/>
          <a:p>
            <a:r>
              <a:rPr lang="sv-SE" b="1" dirty="0"/>
              <a:t>Alla åtta områden har aktiviteter för: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b="1" dirty="0"/>
              <a:t>	</a:t>
            </a:r>
            <a:r>
              <a:rPr lang="sv-SE" dirty="0"/>
              <a:t>Huvudman		- makro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/>
              <a:t>	Vårdgivar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/>
              <a:t>	Verksamhetschef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/>
              <a:t>	Chef på vårdenhetsnivå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dirty="0"/>
              <a:t>	Medarbetare</a:t>
            </a:r>
          </a:p>
          <a:p>
            <a:pPr>
              <a:lnSpc>
                <a:spcPct val="150000"/>
              </a:lnSpc>
            </a:pPr>
            <a:r>
              <a:rPr lang="sv-SE" b="1" dirty="0"/>
              <a:t>Läs i första hand om aktiviteter utifrån din roll eller funktion</a:t>
            </a:r>
          </a:p>
        </p:txBody>
      </p:sp>
      <p:sp>
        <p:nvSpPr>
          <p:cNvPr id="4" name="Höger klammerparentes 3">
            <a:extLst>
              <a:ext uri="{FF2B5EF4-FFF2-40B4-BE49-F238E27FC236}">
                <a16:creationId xmlns:a16="http://schemas.microsoft.com/office/drawing/2014/main" id="{0E3518D2-99C0-2298-02A5-57D9ED9A6568}"/>
              </a:ext>
            </a:extLst>
          </p:cNvPr>
          <p:cNvSpPr/>
          <p:nvPr/>
        </p:nvSpPr>
        <p:spPr>
          <a:xfrm>
            <a:off x="5591944" y="2708920"/>
            <a:ext cx="432048" cy="93610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Höger klammerparentes 4">
            <a:extLst>
              <a:ext uri="{FF2B5EF4-FFF2-40B4-BE49-F238E27FC236}">
                <a16:creationId xmlns:a16="http://schemas.microsoft.com/office/drawing/2014/main" id="{BB3574C5-51F1-C41E-7229-DA46446BF91D}"/>
              </a:ext>
            </a:extLst>
          </p:cNvPr>
          <p:cNvSpPr/>
          <p:nvPr/>
        </p:nvSpPr>
        <p:spPr>
          <a:xfrm>
            <a:off x="6168008" y="4005064"/>
            <a:ext cx="432048" cy="936104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6491FC2C-4D73-60AB-08AC-7A5A213C8D2A}"/>
              </a:ext>
            </a:extLst>
          </p:cNvPr>
          <p:cNvSpPr txBox="1"/>
          <p:nvPr/>
        </p:nvSpPr>
        <p:spPr>
          <a:xfrm>
            <a:off x="6280018" y="2938246"/>
            <a:ext cx="10294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dirty="0"/>
              <a:t>- </a:t>
            </a:r>
            <a:r>
              <a:rPr lang="sv-SE" sz="2400" dirty="0" err="1"/>
              <a:t>meso</a:t>
            </a:r>
            <a:endParaRPr lang="sv-SE" sz="2400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461BEEF7-2D95-F298-54BA-6AFC1E4050F5}"/>
              </a:ext>
            </a:extLst>
          </p:cNvPr>
          <p:cNvSpPr txBox="1"/>
          <p:nvPr/>
        </p:nvSpPr>
        <p:spPr>
          <a:xfrm>
            <a:off x="6832459" y="4217683"/>
            <a:ext cx="10677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dirty="0"/>
              <a:t>- mikro</a:t>
            </a:r>
          </a:p>
        </p:txBody>
      </p:sp>
    </p:spTree>
    <p:extLst>
      <p:ext uri="{BB962C8B-B14F-4D97-AF65-F5344CB8AC3E}">
        <p14:creationId xmlns:p14="http://schemas.microsoft.com/office/powerpoint/2010/main" val="1558825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655904" y="267090"/>
            <a:ext cx="6880193" cy="965151"/>
          </a:xfrm>
        </p:spPr>
        <p:txBody>
          <a:bodyPr wrap="square" anchor="ctr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sv-SE" sz="2800" dirty="0"/>
              <a:t>Åtta områden som leder vägen framåt </a:t>
            </a:r>
            <a:br>
              <a:rPr lang="sv-SE" sz="2800" dirty="0"/>
            </a:br>
            <a:r>
              <a:rPr lang="sv-SE" sz="2800" dirty="0"/>
              <a:t>i vårdhygieniskt arbete</a:t>
            </a:r>
          </a:p>
        </p:txBody>
      </p:sp>
      <p:pic>
        <p:nvPicPr>
          <p:cNvPr id="4" name="Bildobjekt 3" descr="En bild som visar gräs och i mitten en rak asfalterad väg.">
            <a:extLst>
              <a:ext uri="{FF2B5EF4-FFF2-40B4-BE49-F238E27FC236}">
                <a16:creationId xmlns:a16="http://schemas.microsoft.com/office/drawing/2014/main" id="{73A44A9E-43F2-44AD-990D-24E32D9AC27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t="21551" b="5121"/>
          <a:stretch/>
        </p:blipFill>
        <p:spPr>
          <a:xfrm>
            <a:off x="2238400" y="1382698"/>
            <a:ext cx="7715200" cy="4243063"/>
          </a:xfrm>
          <a:prstGeom prst="rect">
            <a:avLst/>
          </a:prstGeom>
          <a:noFill/>
        </p:spPr>
      </p:pic>
      <p:pic>
        <p:nvPicPr>
          <p:cNvPr id="6" name="Bildobjekt 5" descr="Bild som visar framsidan på rapporten: Vägledning för vårdhygieniskt arbete.">
            <a:extLst>
              <a:ext uri="{FF2B5EF4-FFF2-40B4-BE49-F238E27FC236}">
                <a16:creationId xmlns:a16="http://schemas.microsoft.com/office/drawing/2014/main" id="{F842618A-FD28-4C82-8E68-1FD4C50E07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266953" y="830180"/>
            <a:ext cx="4424676" cy="6144219"/>
          </a:xfrm>
          <a:prstGeom prst="rect">
            <a:avLst/>
          </a:prstGeom>
          <a:scene3d>
            <a:camera prst="orthographicFront"/>
            <a:lightRig rig="threePt" dir="t"/>
          </a:scene3d>
          <a:sp3d extrusionH="6350" contourW="12700">
            <a:contourClr>
              <a:schemeClr val="tx1"/>
            </a:contourClr>
          </a:sp3d>
        </p:spPr>
      </p:pic>
    </p:spTree>
    <p:extLst>
      <p:ext uri="{BB962C8B-B14F-4D97-AF65-F5344CB8AC3E}">
        <p14:creationId xmlns:p14="http://schemas.microsoft.com/office/powerpoint/2010/main" val="3582202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JRqJRGQRz3irGY2PlY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EU0Wh3bte1AVLaiL9w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qTqNSDi2sVuztAOR1e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kbgBtE3je3FHoCYzsX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FNDiy8gpxDaxHegB60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4" id="{02D4D526-D8A4-4F4A-B69B-4B3AF82E4831}" vid="{66A6ED8C-007A-4142-BC86-762536A5AB75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8</TotalTime>
  <Words>1550</Words>
  <Application>Microsoft Office PowerPoint</Application>
  <PresentationFormat>Bredbild</PresentationFormat>
  <Paragraphs>175</Paragraphs>
  <Slides>25</Slides>
  <Notes>6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5</vt:i4>
      </vt:variant>
    </vt:vector>
  </HeadingPairs>
  <TitlesOfParts>
    <vt:vector size="30" baseType="lpstr">
      <vt:lpstr>Arial</vt:lpstr>
      <vt:lpstr>Calibri</vt:lpstr>
      <vt:lpstr>Calibri Light</vt:lpstr>
      <vt:lpstr>6_Tema_sveriges_regioner_i_samverkan</vt:lpstr>
      <vt:lpstr>think-cell Slide</vt:lpstr>
      <vt:lpstr>PowerPoint-presentation</vt:lpstr>
      <vt:lpstr>Vem har ansvar för vårdhygieniskt arbete?</vt:lpstr>
      <vt:lpstr>Vad är ”god hygienisk standard”?</vt:lpstr>
      <vt:lpstr>PowerPoint-presentation</vt:lpstr>
      <vt:lpstr>Aktörer – ansvar och roller</vt:lpstr>
      <vt:lpstr>Aktiviteter - 8 områden</vt:lpstr>
      <vt:lpstr>PowerPoint-presentation</vt:lpstr>
      <vt:lpstr>Nivåer – var är jag? </vt:lpstr>
      <vt:lpstr>Åtta områden som leder vägen framåt  i vårdhygieniskt arbete</vt:lpstr>
      <vt:lpstr>Checklistor</vt:lpstr>
      <vt:lpstr>PowerPoint-presentation</vt:lpstr>
      <vt:lpstr>1. Handlingsplan för att förebygga VRI och smittspridning </vt:lpstr>
      <vt:lpstr>PowerPoint-presentation</vt:lpstr>
      <vt:lpstr>2. Evidensbaserade styrande och stödjande dokument </vt:lpstr>
      <vt:lpstr>Uppföljning</vt:lpstr>
      <vt:lpstr>4. Övervakning och registrering av VRI </vt:lpstr>
      <vt:lpstr>4. Övervakning och registrering av VRI </vt:lpstr>
      <vt:lpstr>6. Systematiskt kvalitetsarbete - mätning och uppföljning av strukturer och processer</vt:lpstr>
      <vt:lpstr>6. Systematiskt kvalitetsarbete - mätning och uppföljning av strukturer och processer</vt:lpstr>
      <vt:lpstr>6. Systematiskt kvalitetsarbete - mätning och uppföljning av strukturer och processer</vt:lpstr>
      <vt:lpstr>8. Lokaler och utrustning</vt:lpstr>
      <vt:lpstr>8. Lokaler och utrustning</vt:lpstr>
      <vt:lpstr>8. Lokaler och utrustning</vt:lpstr>
      <vt:lpstr>Frågor som tar det lokala arbetet med vägledningen vidare: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Kain Johanna</dc:creator>
  <cp:lastModifiedBy>Dahlin Price Anja</cp:lastModifiedBy>
  <cp:revision>10</cp:revision>
  <dcterms:created xsi:type="dcterms:W3CDTF">2023-09-18T14:26:41Z</dcterms:created>
  <dcterms:modified xsi:type="dcterms:W3CDTF">2024-02-09T14:04:08Z</dcterms:modified>
</cp:coreProperties>
</file>